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media/image5.jpg" ContentType="image/jp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 id="2147483725" r:id="rId2"/>
  </p:sldMasterIdLst>
  <p:notesMasterIdLst>
    <p:notesMasterId r:id="rId61"/>
  </p:notesMasterIdLst>
  <p:sldIdLst>
    <p:sldId id="405" r:id="rId3"/>
    <p:sldId id="382" r:id="rId4"/>
    <p:sldId id="684" r:id="rId5"/>
    <p:sldId id="685" r:id="rId6"/>
    <p:sldId id="379" r:id="rId7"/>
    <p:sldId id="430" r:id="rId8"/>
    <p:sldId id="431" r:id="rId9"/>
    <p:sldId id="687" r:id="rId10"/>
    <p:sldId id="688" r:id="rId11"/>
    <p:sldId id="689" r:id="rId12"/>
    <p:sldId id="691" r:id="rId13"/>
    <p:sldId id="704" r:id="rId14"/>
    <p:sldId id="692" r:id="rId15"/>
    <p:sldId id="693" r:id="rId16"/>
    <p:sldId id="301" r:id="rId17"/>
    <p:sldId id="696" r:id="rId18"/>
    <p:sldId id="695" r:id="rId19"/>
    <p:sldId id="694" r:id="rId20"/>
    <p:sldId id="705" r:id="rId21"/>
    <p:sldId id="698" r:id="rId22"/>
    <p:sldId id="699" r:id="rId23"/>
    <p:sldId id="700" r:id="rId24"/>
    <p:sldId id="701" r:id="rId25"/>
    <p:sldId id="302" r:id="rId26"/>
    <p:sldId id="303" r:id="rId27"/>
    <p:sldId id="304" r:id="rId28"/>
    <p:sldId id="305" r:id="rId29"/>
    <p:sldId id="306" r:id="rId30"/>
    <p:sldId id="703" r:id="rId31"/>
    <p:sldId id="407" r:id="rId32"/>
    <p:sldId id="446" r:id="rId33"/>
    <p:sldId id="417" r:id="rId34"/>
    <p:sldId id="418" r:id="rId35"/>
    <p:sldId id="419" r:id="rId36"/>
    <p:sldId id="421" r:id="rId37"/>
    <p:sldId id="422" r:id="rId38"/>
    <p:sldId id="706" r:id="rId39"/>
    <p:sldId id="424" r:id="rId40"/>
    <p:sldId id="425" r:id="rId41"/>
    <p:sldId id="426" r:id="rId42"/>
    <p:sldId id="427" r:id="rId43"/>
    <p:sldId id="428" r:id="rId44"/>
    <p:sldId id="429" r:id="rId45"/>
    <p:sldId id="708" r:id="rId46"/>
    <p:sldId id="437" r:id="rId47"/>
    <p:sldId id="438" r:id="rId48"/>
    <p:sldId id="709" r:id="rId49"/>
    <p:sldId id="433" r:id="rId50"/>
    <p:sldId id="434" r:id="rId51"/>
    <p:sldId id="707" r:id="rId52"/>
    <p:sldId id="435" r:id="rId53"/>
    <p:sldId id="679" r:id="rId54"/>
    <p:sldId id="371" r:id="rId55"/>
    <p:sldId id="374" r:id="rId56"/>
    <p:sldId id="373" r:id="rId57"/>
    <p:sldId id="711" r:id="rId58"/>
    <p:sldId id="712" r:id="rId59"/>
    <p:sldId id="713" r:id="rId60"/>
  </p:sldIdLst>
  <p:sldSz cx="12192000" cy="6858000"/>
  <p:notesSz cx="6789738" cy="9929813"/>
  <p:custDataLst>
    <p:tags r:id="rId6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4" userDrawn="1">
          <p15:clr>
            <a:srgbClr val="A4A3A4"/>
          </p15:clr>
        </p15:guide>
        <p15:guide id="2" orient="horz" pos="2160" userDrawn="1">
          <p15:clr>
            <a:srgbClr val="A4A3A4"/>
          </p15:clr>
        </p15:guide>
        <p15:guide id="3" orient="horz" pos="704" userDrawn="1">
          <p15:clr>
            <a:srgbClr val="A4A3A4"/>
          </p15:clr>
        </p15:guide>
        <p15:guide id="4" orient="horz" pos="548" userDrawn="1">
          <p15:clr>
            <a:srgbClr val="A4A3A4"/>
          </p15:clr>
        </p15:guide>
        <p15:guide id="5" pos="172" userDrawn="1">
          <p15:clr>
            <a:srgbClr val="A4A3A4"/>
          </p15:clr>
        </p15:guide>
        <p15:guide id="6" pos="7525"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4749"/>
    <a:srgbClr val="0D5893"/>
    <a:srgbClr val="D8EDFC"/>
    <a:srgbClr val="9CCFF6"/>
    <a:srgbClr val="52ACF0"/>
    <a:srgbClr val="1388DF"/>
    <a:srgbClr val="10DAF4"/>
    <a:srgbClr val="00E9F4"/>
    <a:srgbClr val="00688F"/>
    <a:srgbClr val="00A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2FC255-FDC9-45CC-A0C8-384427C27D7E}" v="31" dt="2024-04-15T15:35:13.66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3792" autoAdjust="0"/>
  </p:normalViewPr>
  <p:slideViewPr>
    <p:cSldViewPr snapToGrid="0" showGuides="1">
      <p:cViewPr varScale="1">
        <p:scale>
          <a:sx n="63" d="100"/>
          <a:sy n="63" d="100"/>
        </p:scale>
        <p:origin x="772" y="64"/>
      </p:cViewPr>
      <p:guideLst>
        <p:guide orient="horz" pos="3604"/>
        <p:guide orient="horz" pos="2160"/>
        <p:guide orient="horz" pos="704"/>
        <p:guide orient="horz" pos="548"/>
        <p:guide pos="172"/>
        <p:guide pos="7525"/>
        <p:guide pos="3840"/>
      </p:guideLst>
    </p:cSldViewPr>
  </p:slideViewPr>
  <p:notesTextViewPr>
    <p:cViewPr>
      <p:scale>
        <a:sx n="1" d="1"/>
        <a:sy n="1" d="1"/>
      </p:scale>
      <p:origin x="0" y="0"/>
    </p:cViewPr>
  </p:notesTextViewPr>
  <p:notesViewPr>
    <p:cSldViewPr snapToGrid="0">
      <p:cViewPr varScale="1">
        <p:scale>
          <a:sx n="90" d="100"/>
          <a:sy n="90" d="100"/>
        </p:scale>
        <p:origin x="3234" y="10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notesMaster" Target="notesMasters/notesMaster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69" Type="http://schemas.openxmlformats.org/officeDocument/2006/relationships/customXml" Target="../customXml/item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microsoft.com/office/2016/11/relationships/changesInfo" Target="changesInfos/changesInfo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gs" Target="tags/tag1.xml"/><Relationship Id="rId7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ias Scholer" userId="daad25a6-aca0-4d73-8528-03a468fe8ab9" providerId="ADAL" clId="{61F1D2C7-7A6C-4EA1-9543-00D7468A4E4D}"/>
    <pc:docChg chg="custSel addSld delSld modSld sldOrd modMainMaster">
      <pc:chgData name="Matthias Scholer" userId="daad25a6-aca0-4d73-8528-03a468fe8ab9" providerId="ADAL" clId="{61F1D2C7-7A6C-4EA1-9543-00D7468A4E4D}" dt="2023-05-22T08:01:26.592" v="263"/>
      <pc:docMkLst>
        <pc:docMk/>
      </pc:docMkLst>
      <pc:sldChg chg="add">
        <pc:chgData name="Matthias Scholer" userId="daad25a6-aca0-4d73-8528-03a468fe8ab9" providerId="ADAL" clId="{61F1D2C7-7A6C-4EA1-9543-00D7468A4E4D}" dt="2023-05-22T08:00:42.995" v="260"/>
        <pc:sldMkLst>
          <pc:docMk/>
          <pc:sldMk cId="2677788801" sldId="283"/>
        </pc:sldMkLst>
      </pc:sldChg>
      <pc:sldChg chg="modSp">
        <pc:chgData name="Matthias Scholer" userId="daad25a6-aca0-4d73-8528-03a468fe8ab9" providerId="ADAL" clId="{61F1D2C7-7A6C-4EA1-9543-00D7468A4E4D}" dt="2023-05-08T13:38:12.953" v="0"/>
        <pc:sldMkLst>
          <pc:docMk/>
          <pc:sldMk cId="125306399" sldId="287"/>
        </pc:sldMkLst>
        <pc:spChg chg="mod">
          <ac:chgData name="Matthias Scholer" userId="daad25a6-aca0-4d73-8528-03a468fe8ab9" providerId="ADAL" clId="{61F1D2C7-7A6C-4EA1-9543-00D7468A4E4D}" dt="2023-05-08T13:38:12.953" v="0"/>
          <ac:spMkLst>
            <pc:docMk/>
            <pc:sldMk cId="125306399" sldId="287"/>
            <ac:spMk id="2" creationId="{00000000-0000-0000-0000-000000000000}"/>
          </ac:spMkLst>
        </pc:spChg>
        <pc:spChg chg="mod">
          <ac:chgData name="Matthias Scholer" userId="daad25a6-aca0-4d73-8528-03a468fe8ab9" providerId="ADAL" clId="{61F1D2C7-7A6C-4EA1-9543-00D7468A4E4D}" dt="2023-05-08T13:38:12.953" v="0"/>
          <ac:spMkLst>
            <pc:docMk/>
            <pc:sldMk cId="125306399" sldId="287"/>
            <ac:spMk id="4" creationId="{00000000-0000-0000-0000-000000000000}"/>
          </ac:spMkLst>
        </pc:spChg>
      </pc:sldChg>
      <pc:sldChg chg="modSp">
        <pc:chgData name="Matthias Scholer" userId="daad25a6-aca0-4d73-8528-03a468fe8ab9" providerId="ADAL" clId="{61F1D2C7-7A6C-4EA1-9543-00D7468A4E4D}" dt="2023-05-08T13:38:12.953" v="0"/>
        <pc:sldMkLst>
          <pc:docMk/>
          <pc:sldMk cId="1110234724" sldId="288"/>
        </pc:sldMkLst>
        <pc:spChg chg="mod">
          <ac:chgData name="Matthias Scholer" userId="daad25a6-aca0-4d73-8528-03a468fe8ab9" providerId="ADAL" clId="{61F1D2C7-7A6C-4EA1-9543-00D7468A4E4D}" dt="2023-05-08T13:38:12.953" v="0"/>
          <ac:spMkLst>
            <pc:docMk/>
            <pc:sldMk cId="1110234724" sldId="288"/>
            <ac:spMk id="2" creationId="{00000000-0000-0000-0000-000000000000}"/>
          </ac:spMkLst>
        </pc:spChg>
        <pc:spChg chg="mod">
          <ac:chgData name="Matthias Scholer" userId="daad25a6-aca0-4d73-8528-03a468fe8ab9" providerId="ADAL" clId="{61F1D2C7-7A6C-4EA1-9543-00D7468A4E4D}" dt="2023-05-08T13:38:12.953" v="0"/>
          <ac:spMkLst>
            <pc:docMk/>
            <pc:sldMk cId="1110234724" sldId="288"/>
            <ac:spMk id="4" creationId="{00000000-0000-0000-0000-000000000000}"/>
          </ac:spMkLst>
        </pc:spChg>
      </pc:sldChg>
      <pc:sldChg chg="modSp del">
        <pc:chgData name="Matthias Scholer" userId="daad25a6-aca0-4d73-8528-03a468fe8ab9" providerId="ADAL" clId="{61F1D2C7-7A6C-4EA1-9543-00D7468A4E4D}" dt="2023-05-17T08:52:02.939" v="160" actId="2696"/>
        <pc:sldMkLst>
          <pc:docMk/>
          <pc:sldMk cId="2907862714" sldId="289"/>
        </pc:sldMkLst>
        <pc:spChg chg="mod">
          <ac:chgData name="Matthias Scholer" userId="daad25a6-aca0-4d73-8528-03a468fe8ab9" providerId="ADAL" clId="{61F1D2C7-7A6C-4EA1-9543-00D7468A4E4D}" dt="2023-05-08T13:38:12.953" v="0"/>
          <ac:spMkLst>
            <pc:docMk/>
            <pc:sldMk cId="2907862714" sldId="289"/>
            <ac:spMk id="2" creationId="{00000000-0000-0000-0000-000000000000}"/>
          </ac:spMkLst>
        </pc:spChg>
        <pc:spChg chg="mod">
          <ac:chgData name="Matthias Scholer" userId="daad25a6-aca0-4d73-8528-03a468fe8ab9" providerId="ADAL" clId="{61F1D2C7-7A6C-4EA1-9543-00D7468A4E4D}" dt="2023-05-08T13:38:12.953" v="0"/>
          <ac:spMkLst>
            <pc:docMk/>
            <pc:sldMk cId="2907862714" sldId="289"/>
            <ac:spMk id="4" creationId="{00000000-0000-0000-0000-000000000000}"/>
          </ac:spMkLst>
        </pc:spChg>
      </pc:sldChg>
      <pc:sldChg chg="modSp mod">
        <pc:chgData name="Matthias Scholer" userId="daad25a6-aca0-4d73-8528-03a468fe8ab9" providerId="ADAL" clId="{61F1D2C7-7A6C-4EA1-9543-00D7468A4E4D}" dt="2023-05-08T13:40:02.860" v="70" actId="20577"/>
        <pc:sldMkLst>
          <pc:docMk/>
          <pc:sldMk cId="152197939" sldId="292"/>
        </pc:sldMkLst>
        <pc:spChg chg="mod">
          <ac:chgData name="Matthias Scholer" userId="daad25a6-aca0-4d73-8528-03a468fe8ab9" providerId="ADAL" clId="{61F1D2C7-7A6C-4EA1-9543-00D7468A4E4D}" dt="2023-05-08T13:38:13.117" v="3" actId="27636"/>
          <ac:spMkLst>
            <pc:docMk/>
            <pc:sldMk cId="152197939" sldId="292"/>
            <ac:spMk id="2" creationId="{00000000-0000-0000-0000-000000000000}"/>
          </ac:spMkLst>
        </pc:spChg>
        <pc:spChg chg="mod">
          <ac:chgData name="Matthias Scholer" userId="daad25a6-aca0-4d73-8528-03a468fe8ab9" providerId="ADAL" clId="{61F1D2C7-7A6C-4EA1-9543-00D7468A4E4D}" dt="2023-05-08T13:38:12.953" v="0"/>
          <ac:spMkLst>
            <pc:docMk/>
            <pc:sldMk cId="152197939" sldId="292"/>
            <ac:spMk id="4" creationId="{00000000-0000-0000-0000-000000000000}"/>
          </ac:spMkLst>
        </pc:spChg>
        <pc:spChg chg="mod">
          <ac:chgData name="Matthias Scholer" userId="daad25a6-aca0-4d73-8528-03a468fe8ab9" providerId="ADAL" clId="{61F1D2C7-7A6C-4EA1-9543-00D7468A4E4D}" dt="2023-05-08T13:38:12.953" v="0"/>
          <ac:spMkLst>
            <pc:docMk/>
            <pc:sldMk cId="152197939" sldId="292"/>
            <ac:spMk id="5" creationId="{00000000-0000-0000-0000-000000000000}"/>
          </ac:spMkLst>
        </pc:spChg>
        <pc:spChg chg="mod">
          <ac:chgData name="Matthias Scholer" userId="daad25a6-aca0-4d73-8528-03a468fe8ab9" providerId="ADAL" clId="{61F1D2C7-7A6C-4EA1-9543-00D7468A4E4D}" dt="2023-05-08T13:40:02.860" v="70" actId="20577"/>
          <ac:spMkLst>
            <pc:docMk/>
            <pc:sldMk cId="152197939" sldId="292"/>
            <ac:spMk id="7" creationId="{00000000-0000-0000-0000-000000000000}"/>
          </ac:spMkLst>
        </pc:spChg>
      </pc:sldChg>
      <pc:sldChg chg="modSp del mod">
        <pc:chgData name="Matthias Scholer" userId="daad25a6-aca0-4d73-8528-03a468fe8ab9" providerId="ADAL" clId="{61F1D2C7-7A6C-4EA1-9543-00D7468A4E4D}" dt="2023-05-17T08:52:02.939" v="160" actId="2696"/>
        <pc:sldMkLst>
          <pc:docMk/>
          <pc:sldMk cId="3503663447" sldId="293"/>
        </pc:sldMkLst>
        <pc:spChg chg="mod">
          <ac:chgData name="Matthias Scholer" userId="daad25a6-aca0-4d73-8528-03a468fe8ab9" providerId="ADAL" clId="{61F1D2C7-7A6C-4EA1-9543-00D7468A4E4D}" dt="2023-05-08T13:38:13.290" v="26" actId="27636"/>
          <ac:spMkLst>
            <pc:docMk/>
            <pc:sldMk cId="3503663447" sldId="293"/>
            <ac:spMk id="2" creationId="{00000000-0000-0000-0000-000000000000}"/>
          </ac:spMkLst>
        </pc:spChg>
        <pc:spChg chg="mod">
          <ac:chgData name="Matthias Scholer" userId="daad25a6-aca0-4d73-8528-03a468fe8ab9" providerId="ADAL" clId="{61F1D2C7-7A6C-4EA1-9543-00D7468A4E4D}" dt="2023-05-08T13:38:12.953" v="0"/>
          <ac:spMkLst>
            <pc:docMk/>
            <pc:sldMk cId="3503663447" sldId="293"/>
            <ac:spMk id="3" creationId="{00000000-0000-0000-0000-000000000000}"/>
          </ac:spMkLst>
        </pc:spChg>
        <pc:spChg chg="mod">
          <ac:chgData name="Matthias Scholer" userId="daad25a6-aca0-4d73-8528-03a468fe8ab9" providerId="ADAL" clId="{61F1D2C7-7A6C-4EA1-9543-00D7468A4E4D}" dt="2023-05-08T13:38:12.953" v="0"/>
          <ac:spMkLst>
            <pc:docMk/>
            <pc:sldMk cId="3503663447" sldId="293"/>
            <ac:spMk id="5" creationId="{00000000-0000-0000-0000-000000000000}"/>
          </ac:spMkLst>
        </pc:spChg>
      </pc:sldChg>
      <pc:sldChg chg="add ord">
        <pc:chgData name="Matthias Scholer" userId="daad25a6-aca0-4d73-8528-03a468fe8ab9" providerId="ADAL" clId="{61F1D2C7-7A6C-4EA1-9543-00D7468A4E4D}" dt="2023-05-17T12:11:29.195" v="228"/>
        <pc:sldMkLst>
          <pc:docMk/>
          <pc:sldMk cId="1904681516" sldId="296"/>
        </pc:sldMkLst>
      </pc:sldChg>
      <pc:sldChg chg="modSp mod">
        <pc:chgData name="Matthias Scholer" userId="daad25a6-aca0-4d73-8528-03a468fe8ab9" providerId="ADAL" clId="{61F1D2C7-7A6C-4EA1-9543-00D7468A4E4D}" dt="2023-05-08T13:39:33.277" v="54" actId="1076"/>
        <pc:sldMkLst>
          <pc:docMk/>
          <pc:sldMk cId="3854691055" sldId="297"/>
        </pc:sldMkLst>
        <pc:spChg chg="mod">
          <ac:chgData name="Matthias Scholer" userId="daad25a6-aca0-4d73-8528-03a468fe8ab9" providerId="ADAL" clId="{61F1D2C7-7A6C-4EA1-9543-00D7468A4E4D}" dt="2023-05-08T13:39:30.556" v="53" actId="1076"/>
          <ac:spMkLst>
            <pc:docMk/>
            <pc:sldMk cId="3854691055" sldId="297"/>
            <ac:spMk id="2" creationId="{00000000-0000-0000-0000-000000000000}"/>
          </ac:spMkLst>
        </pc:spChg>
        <pc:spChg chg="mod">
          <ac:chgData name="Matthias Scholer" userId="daad25a6-aca0-4d73-8528-03a468fe8ab9" providerId="ADAL" clId="{61F1D2C7-7A6C-4EA1-9543-00D7468A4E4D}" dt="2023-05-08T13:39:13.472" v="48" actId="20577"/>
          <ac:spMkLst>
            <pc:docMk/>
            <pc:sldMk cId="3854691055" sldId="297"/>
            <ac:spMk id="3" creationId="{00000000-0000-0000-0000-000000000000}"/>
          </ac:spMkLst>
        </pc:spChg>
        <pc:spChg chg="mod">
          <ac:chgData name="Matthias Scholer" userId="daad25a6-aca0-4d73-8528-03a468fe8ab9" providerId="ADAL" clId="{61F1D2C7-7A6C-4EA1-9543-00D7468A4E4D}" dt="2023-05-08T13:38:12.953" v="0"/>
          <ac:spMkLst>
            <pc:docMk/>
            <pc:sldMk cId="3854691055" sldId="297"/>
            <ac:spMk id="4" creationId="{00000000-0000-0000-0000-000000000000}"/>
          </ac:spMkLst>
        </pc:spChg>
        <pc:spChg chg="mod">
          <ac:chgData name="Matthias Scholer" userId="daad25a6-aca0-4d73-8528-03a468fe8ab9" providerId="ADAL" clId="{61F1D2C7-7A6C-4EA1-9543-00D7468A4E4D}" dt="2023-05-08T13:39:33.277" v="54" actId="1076"/>
          <ac:spMkLst>
            <pc:docMk/>
            <pc:sldMk cId="3854691055" sldId="297"/>
            <ac:spMk id="9" creationId="{00000000-0000-0000-0000-000000000000}"/>
          </ac:spMkLst>
        </pc:spChg>
        <pc:spChg chg="mod">
          <ac:chgData name="Matthias Scholer" userId="daad25a6-aca0-4d73-8528-03a468fe8ab9" providerId="ADAL" clId="{61F1D2C7-7A6C-4EA1-9543-00D7468A4E4D}" dt="2023-05-08T13:38:12.953" v="0"/>
          <ac:spMkLst>
            <pc:docMk/>
            <pc:sldMk cId="3854691055" sldId="297"/>
            <ac:spMk id="10" creationId="{00000000-0000-0000-0000-000000000000}"/>
          </ac:spMkLst>
        </pc:spChg>
        <pc:picChg chg="mod">
          <ac:chgData name="Matthias Scholer" userId="daad25a6-aca0-4d73-8528-03a468fe8ab9" providerId="ADAL" clId="{61F1D2C7-7A6C-4EA1-9543-00D7468A4E4D}" dt="2023-05-08T13:39:28.402" v="52" actId="1076"/>
          <ac:picMkLst>
            <pc:docMk/>
            <pc:sldMk cId="3854691055" sldId="297"/>
            <ac:picMk id="5" creationId="{00000000-0000-0000-0000-000000000000}"/>
          </ac:picMkLst>
        </pc:picChg>
        <pc:picChg chg="mod">
          <ac:chgData name="Matthias Scholer" userId="daad25a6-aca0-4d73-8528-03a468fe8ab9" providerId="ADAL" clId="{61F1D2C7-7A6C-4EA1-9543-00D7468A4E4D}" dt="2023-05-08T13:39:24.135" v="51" actId="1076"/>
          <ac:picMkLst>
            <pc:docMk/>
            <pc:sldMk cId="3854691055" sldId="297"/>
            <ac:picMk id="6" creationId="{00000000-0000-0000-0000-000000000000}"/>
          </ac:picMkLst>
        </pc:picChg>
        <pc:picChg chg="mod">
          <ac:chgData name="Matthias Scholer" userId="daad25a6-aca0-4d73-8528-03a468fe8ab9" providerId="ADAL" clId="{61F1D2C7-7A6C-4EA1-9543-00D7468A4E4D}" dt="2023-05-08T13:39:20.273" v="50" actId="1076"/>
          <ac:picMkLst>
            <pc:docMk/>
            <pc:sldMk cId="3854691055" sldId="297"/>
            <ac:picMk id="7" creationId="{00000000-0000-0000-0000-000000000000}"/>
          </ac:picMkLst>
        </pc:picChg>
        <pc:picChg chg="mod">
          <ac:chgData name="Matthias Scholer" userId="daad25a6-aca0-4d73-8528-03a468fe8ab9" providerId="ADAL" clId="{61F1D2C7-7A6C-4EA1-9543-00D7468A4E4D}" dt="2023-05-08T13:39:17.970" v="49" actId="1076"/>
          <ac:picMkLst>
            <pc:docMk/>
            <pc:sldMk cId="3854691055" sldId="297"/>
            <ac:picMk id="8" creationId="{00000000-0000-0000-0000-000000000000}"/>
          </ac:picMkLst>
        </pc:picChg>
      </pc:sldChg>
      <pc:sldChg chg="modSp mod">
        <pc:chgData name="Matthias Scholer" userId="daad25a6-aca0-4d73-8528-03a468fe8ab9" providerId="ADAL" clId="{61F1D2C7-7A6C-4EA1-9543-00D7468A4E4D}" dt="2023-05-08T13:41:01.407" v="97" actId="1076"/>
        <pc:sldMkLst>
          <pc:docMk/>
          <pc:sldMk cId="56921121" sldId="298"/>
        </pc:sldMkLst>
        <pc:spChg chg="mod">
          <ac:chgData name="Matthias Scholer" userId="daad25a6-aca0-4d73-8528-03a468fe8ab9" providerId="ADAL" clId="{61F1D2C7-7A6C-4EA1-9543-00D7468A4E4D}" dt="2023-05-08T13:38:13.140" v="7" actId="27636"/>
          <ac:spMkLst>
            <pc:docMk/>
            <pc:sldMk cId="56921121" sldId="298"/>
            <ac:spMk id="2" creationId="{00000000-0000-0000-0000-000000000000}"/>
          </ac:spMkLst>
        </pc:spChg>
        <pc:spChg chg="mod">
          <ac:chgData name="Matthias Scholer" userId="daad25a6-aca0-4d73-8528-03a468fe8ab9" providerId="ADAL" clId="{61F1D2C7-7A6C-4EA1-9543-00D7468A4E4D}" dt="2023-05-08T13:38:12.953" v="0"/>
          <ac:spMkLst>
            <pc:docMk/>
            <pc:sldMk cId="56921121" sldId="298"/>
            <ac:spMk id="4" creationId="{00000000-0000-0000-0000-000000000000}"/>
          </ac:spMkLst>
        </pc:spChg>
        <pc:spChg chg="mod">
          <ac:chgData name="Matthias Scholer" userId="daad25a6-aca0-4d73-8528-03a468fe8ab9" providerId="ADAL" clId="{61F1D2C7-7A6C-4EA1-9543-00D7468A4E4D}" dt="2023-05-08T13:38:12.953" v="0"/>
          <ac:spMkLst>
            <pc:docMk/>
            <pc:sldMk cId="56921121" sldId="298"/>
            <ac:spMk id="5" creationId="{00000000-0000-0000-0000-000000000000}"/>
          </ac:spMkLst>
        </pc:spChg>
        <pc:spChg chg="mod">
          <ac:chgData name="Matthias Scholer" userId="daad25a6-aca0-4d73-8528-03a468fe8ab9" providerId="ADAL" clId="{61F1D2C7-7A6C-4EA1-9543-00D7468A4E4D}" dt="2023-05-08T13:40:56.590" v="96" actId="1076"/>
          <ac:spMkLst>
            <pc:docMk/>
            <pc:sldMk cId="56921121" sldId="298"/>
            <ac:spMk id="8" creationId="{00000000-0000-0000-0000-000000000000}"/>
          </ac:spMkLst>
        </pc:spChg>
        <pc:spChg chg="mod">
          <ac:chgData name="Matthias Scholer" userId="daad25a6-aca0-4d73-8528-03a468fe8ab9" providerId="ADAL" clId="{61F1D2C7-7A6C-4EA1-9543-00D7468A4E4D}" dt="2023-05-08T13:41:01.407" v="97" actId="1076"/>
          <ac:spMkLst>
            <pc:docMk/>
            <pc:sldMk cId="56921121" sldId="298"/>
            <ac:spMk id="9" creationId="{00000000-0000-0000-0000-000000000000}"/>
          </ac:spMkLst>
        </pc:spChg>
      </pc:sldChg>
      <pc:sldChg chg="modSp mod">
        <pc:chgData name="Matthias Scholer" userId="daad25a6-aca0-4d73-8528-03a468fe8ab9" providerId="ADAL" clId="{61F1D2C7-7A6C-4EA1-9543-00D7468A4E4D}" dt="2023-05-17T08:46:09.562" v="159" actId="1035"/>
        <pc:sldMkLst>
          <pc:docMk/>
          <pc:sldMk cId="1301656241" sldId="299"/>
        </pc:sldMkLst>
        <pc:spChg chg="mod">
          <ac:chgData name="Matthias Scholer" userId="daad25a6-aca0-4d73-8528-03a468fe8ab9" providerId="ADAL" clId="{61F1D2C7-7A6C-4EA1-9543-00D7468A4E4D}" dt="2023-05-08T13:41:37.380" v="101" actId="1076"/>
          <ac:spMkLst>
            <pc:docMk/>
            <pc:sldMk cId="1301656241" sldId="299"/>
            <ac:spMk id="2" creationId="{00000000-0000-0000-0000-000000000000}"/>
          </ac:spMkLst>
        </pc:spChg>
        <pc:spChg chg="mod">
          <ac:chgData name="Matthias Scholer" userId="daad25a6-aca0-4d73-8528-03a468fe8ab9" providerId="ADAL" clId="{61F1D2C7-7A6C-4EA1-9543-00D7468A4E4D}" dt="2023-05-08T13:38:12.953" v="0"/>
          <ac:spMkLst>
            <pc:docMk/>
            <pc:sldMk cId="1301656241" sldId="299"/>
            <ac:spMk id="5" creationId="{00000000-0000-0000-0000-000000000000}"/>
          </ac:spMkLst>
        </pc:spChg>
        <pc:spChg chg="mod">
          <ac:chgData name="Matthias Scholer" userId="daad25a6-aca0-4d73-8528-03a468fe8ab9" providerId="ADAL" clId="{61F1D2C7-7A6C-4EA1-9543-00D7468A4E4D}" dt="2023-05-08T13:38:12.953" v="0"/>
          <ac:spMkLst>
            <pc:docMk/>
            <pc:sldMk cId="1301656241" sldId="299"/>
            <ac:spMk id="6" creationId="{00000000-0000-0000-0000-000000000000}"/>
          </ac:spMkLst>
        </pc:spChg>
        <pc:spChg chg="mod">
          <ac:chgData name="Matthias Scholer" userId="daad25a6-aca0-4d73-8528-03a468fe8ab9" providerId="ADAL" clId="{61F1D2C7-7A6C-4EA1-9543-00D7468A4E4D}" dt="2023-05-17T08:46:09.562" v="159" actId="1035"/>
          <ac:spMkLst>
            <pc:docMk/>
            <pc:sldMk cId="1301656241" sldId="299"/>
            <ac:spMk id="9" creationId="{00000000-0000-0000-0000-000000000000}"/>
          </ac:spMkLst>
        </pc:spChg>
        <pc:spChg chg="mod">
          <ac:chgData name="Matthias Scholer" userId="daad25a6-aca0-4d73-8528-03a468fe8ab9" providerId="ADAL" clId="{61F1D2C7-7A6C-4EA1-9543-00D7468A4E4D}" dt="2023-05-08T13:41:46.224" v="111" actId="1076"/>
          <ac:spMkLst>
            <pc:docMk/>
            <pc:sldMk cId="1301656241" sldId="299"/>
            <ac:spMk id="10" creationId="{00000000-0000-0000-0000-000000000000}"/>
          </ac:spMkLst>
        </pc:spChg>
        <pc:picChg chg="mod">
          <ac:chgData name="Matthias Scholer" userId="daad25a6-aca0-4d73-8528-03a468fe8ab9" providerId="ADAL" clId="{61F1D2C7-7A6C-4EA1-9543-00D7468A4E4D}" dt="2023-05-08T13:41:39.886" v="102" actId="1076"/>
          <ac:picMkLst>
            <pc:docMk/>
            <pc:sldMk cId="1301656241" sldId="299"/>
            <ac:picMk id="4" creationId="{00000000-0000-0000-0000-000000000000}"/>
          </ac:picMkLst>
        </pc:picChg>
      </pc:sldChg>
      <pc:sldChg chg="modSp mod">
        <pc:chgData name="Matthias Scholer" userId="daad25a6-aca0-4d73-8528-03a468fe8ab9" providerId="ADAL" clId="{61F1D2C7-7A6C-4EA1-9543-00D7468A4E4D}" dt="2023-05-17T08:46:02.091" v="150" actId="1076"/>
        <pc:sldMkLst>
          <pc:docMk/>
          <pc:sldMk cId="1508733587" sldId="300"/>
        </pc:sldMkLst>
        <pc:spChg chg="mod">
          <ac:chgData name="Matthias Scholer" userId="daad25a6-aca0-4d73-8528-03a468fe8ab9" providerId="ADAL" clId="{61F1D2C7-7A6C-4EA1-9543-00D7468A4E4D}" dt="2023-05-08T13:38:13.154" v="9" actId="27636"/>
          <ac:spMkLst>
            <pc:docMk/>
            <pc:sldMk cId="1508733587" sldId="300"/>
            <ac:spMk id="2" creationId="{00000000-0000-0000-0000-000000000000}"/>
          </ac:spMkLst>
        </pc:spChg>
        <pc:spChg chg="mod">
          <ac:chgData name="Matthias Scholer" userId="daad25a6-aca0-4d73-8528-03a468fe8ab9" providerId="ADAL" clId="{61F1D2C7-7A6C-4EA1-9543-00D7468A4E4D}" dt="2023-05-08T13:38:12.953" v="0"/>
          <ac:spMkLst>
            <pc:docMk/>
            <pc:sldMk cId="1508733587" sldId="300"/>
            <ac:spMk id="4" creationId="{00000000-0000-0000-0000-000000000000}"/>
          </ac:spMkLst>
        </pc:spChg>
        <pc:spChg chg="mod">
          <ac:chgData name="Matthias Scholer" userId="daad25a6-aca0-4d73-8528-03a468fe8ab9" providerId="ADAL" clId="{61F1D2C7-7A6C-4EA1-9543-00D7468A4E4D}" dt="2023-05-08T13:38:12.953" v="0"/>
          <ac:spMkLst>
            <pc:docMk/>
            <pc:sldMk cId="1508733587" sldId="300"/>
            <ac:spMk id="6" creationId="{00000000-0000-0000-0000-000000000000}"/>
          </ac:spMkLst>
        </pc:spChg>
        <pc:spChg chg="mod">
          <ac:chgData name="Matthias Scholer" userId="daad25a6-aca0-4d73-8528-03a468fe8ab9" providerId="ADAL" clId="{61F1D2C7-7A6C-4EA1-9543-00D7468A4E4D}" dt="2023-05-17T08:46:02.091" v="150" actId="1076"/>
          <ac:spMkLst>
            <pc:docMk/>
            <pc:sldMk cId="1508733587" sldId="300"/>
            <ac:spMk id="9" creationId="{00000000-0000-0000-0000-000000000000}"/>
          </ac:spMkLst>
        </pc:spChg>
      </pc:sldChg>
      <pc:sldChg chg="modSp mod">
        <pc:chgData name="Matthias Scholer" userId="daad25a6-aca0-4d73-8528-03a468fe8ab9" providerId="ADAL" clId="{61F1D2C7-7A6C-4EA1-9543-00D7468A4E4D}" dt="2023-05-08T13:40:24.784" v="73" actId="1076"/>
        <pc:sldMkLst>
          <pc:docMk/>
          <pc:sldMk cId="1209432304" sldId="301"/>
        </pc:sldMkLst>
        <pc:spChg chg="mod">
          <ac:chgData name="Matthias Scholer" userId="daad25a6-aca0-4d73-8528-03a468fe8ab9" providerId="ADAL" clId="{61F1D2C7-7A6C-4EA1-9543-00D7468A4E4D}" dt="2023-05-08T13:40:18.034" v="71" actId="948"/>
          <ac:spMkLst>
            <pc:docMk/>
            <pc:sldMk cId="1209432304" sldId="301"/>
            <ac:spMk id="2" creationId="{00000000-0000-0000-0000-000000000000}"/>
          </ac:spMkLst>
        </pc:spChg>
        <pc:spChg chg="mod">
          <ac:chgData name="Matthias Scholer" userId="daad25a6-aca0-4d73-8528-03a468fe8ab9" providerId="ADAL" clId="{61F1D2C7-7A6C-4EA1-9543-00D7468A4E4D}" dt="2023-05-08T13:38:12.953" v="0"/>
          <ac:spMkLst>
            <pc:docMk/>
            <pc:sldMk cId="1209432304" sldId="301"/>
            <ac:spMk id="5" creationId="{00000000-0000-0000-0000-000000000000}"/>
          </ac:spMkLst>
        </pc:spChg>
        <pc:spChg chg="mod">
          <ac:chgData name="Matthias Scholer" userId="daad25a6-aca0-4d73-8528-03a468fe8ab9" providerId="ADAL" clId="{61F1D2C7-7A6C-4EA1-9543-00D7468A4E4D}" dt="2023-05-08T13:40:24.784" v="73" actId="1076"/>
          <ac:spMkLst>
            <pc:docMk/>
            <pc:sldMk cId="1209432304" sldId="301"/>
            <ac:spMk id="6" creationId="{00000000-0000-0000-0000-000000000000}"/>
          </ac:spMkLst>
        </pc:spChg>
        <pc:spChg chg="mod">
          <ac:chgData name="Matthias Scholer" userId="daad25a6-aca0-4d73-8528-03a468fe8ab9" providerId="ADAL" clId="{61F1D2C7-7A6C-4EA1-9543-00D7468A4E4D}" dt="2023-05-08T13:38:12.953" v="0"/>
          <ac:spMkLst>
            <pc:docMk/>
            <pc:sldMk cId="1209432304" sldId="301"/>
            <ac:spMk id="7" creationId="{00000000-0000-0000-0000-000000000000}"/>
          </ac:spMkLst>
        </pc:spChg>
        <pc:spChg chg="mod">
          <ac:chgData name="Matthias Scholer" userId="daad25a6-aca0-4d73-8528-03a468fe8ab9" providerId="ADAL" clId="{61F1D2C7-7A6C-4EA1-9543-00D7468A4E4D}" dt="2023-05-08T13:40:22.305" v="72" actId="1076"/>
          <ac:spMkLst>
            <pc:docMk/>
            <pc:sldMk cId="1209432304" sldId="301"/>
            <ac:spMk id="9" creationId="{00000000-0000-0000-0000-000000000000}"/>
          </ac:spMkLst>
        </pc:spChg>
      </pc:sldChg>
      <pc:sldChg chg="modSp mod modShow">
        <pc:chgData name="Matthias Scholer" userId="daad25a6-aca0-4d73-8528-03a468fe8ab9" providerId="ADAL" clId="{61F1D2C7-7A6C-4EA1-9543-00D7468A4E4D}" dt="2023-05-22T07:59:43.419" v="258" actId="729"/>
        <pc:sldMkLst>
          <pc:docMk/>
          <pc:sldMk cId="1617533612" sldId="302"/>
        </pc:sldMkLst>
        <pc:spChg chg="mod">
          <ac:chgData name="Matthias Scholer" userId="daad25a6-aca0-4d73-8528-03a468fe8ab9" providerId="ADAL" clId="{61F1D2C7-7A6C-4EA1-9543-00D7468A4E4D}" dt="2023-05-08T13:38:13.166" v="11" actId="27636"/>
          <ac:spMkLst>
            <pc:docMk/>
            <pc:sldMk cId="1617533612" sldId="302"/>
            <ac:spMk id="2" creationId="{00000000-0000-0000-0000-000000000000}"/>
          </ac:spMkLst>
        </pc:spChg>
        <pc:spChg chg="mod">
          <ac:chgData name="Matthias Scholer" userId="daad25a6-aca0-4d73-8528-03a468fe8ab9" providerId="ADAL" clId="{61F1D2C7-7A6C-4EA1-9543-00D7468A4E4D}" dt="2023-05-08T13:38:12.953" v="0"/>
          <ac:spMkLst>
            <pc:docMk/>
            <pc:sldMk cId="1617533612" sldId="302"/>
            <ac:spMk id="8" creationId="{00000000-0000-0000-0000-000000000000}"/>
          </ac:spMkLst>
        </pc:spChg>
        <pc:spChg chg="mod">
          <ac:chgData name="Matthias Scholer" userId="daad25a6-aca0-4d73-8528-03a468fe8ab9" providerId="ADAL" clId="{61F1D2C7-7A6C-4EA1-9543-00D7468A4E4D}" dt="2023-05-08T13:38:12.953" v="0"/>
          <ac:spMkLst>
            <pc:docMk/>
            <pc:sldMk cId="1617533612" sldId="302"/>
            <ac:spMk id="9" creationId="{00000000-0000-0000-0000-000000000000}"/>
          </ac:spMkLst>
        </pc:spChg>
      </pc:sldChg>
      <pc:sldChg chg="modSp mod">
        <pc:chgData name="Matthias Scholer" userId="daad25a6-aca0-4d73-8528-03a468fe8ab9" providerId="ADAL" clId="{61F1D2C7-7A6C-4EA1-9543-00D7468A4E4D}" dt="2023-05-08T13:38:13.218" v="15" actId="27636"/>
        <pc:sldMkLst>
          <pc:docMk/>
          <pc:sldMk cId="3098136749" sldId="303"/>
        </pc:sldMkLst>
        <pc:spChg chg="mod">
          <ac:chgData name="Matthias Scholer" userId="daad25a6-aca0-4d73-8528-03a468fe8ab9" providerId="ADAL" clId="{61F1D2C7-7A6C-4EA1-9543-00D7468A4E4D}" dt="2023-05-08T13:38:13.218" v="15" actId="27636"/>
          <ac:spMkLst>
            <pc:docMk/>
            <pc:sldMk cId="3098136749" sldId="303"/>
            <ac:spMk id="2" creationId="{00000000-0000-0000-0000-000000000000}"/>
          </ac:spMkLst>
        </pc:spChg>
        <pc:spChg chg="mod">
          <ac:chgData name="Matthias Scholer" userId="daad25a6-aca0-4d73-8528-03a468fe8ab9" providerId="ADAL" clId="{61F1D2C7-7A6C-4EA1-9543-00D7468A4E4D}" dt="2023-05-08T13:38:12.953" v="0"/>
          <ac:spMkLst>
            <pc:docMk/>
            <pc:sldMk cId="3098136749" sldId="303"/>
            <ac:spMk id="6" creationId="{00000000-0000-0000-0000-000000000000}"/>
          </ac:spMkLst>
        </pc:spChg>
        <pc:spChg chg="mod">
          <ac:chgData name="Matthias Scholer" userId="daad25a6-aca0-4d73-8528-03a468fe8ab9" providerId="ADAL" clId="{61F1D2C7-7A6C-4EA1-9543-00D7468A4E4D}" dt="2023-05-08T13:38:12.953" v="0"/>
          <ac:spMkLst>
            <pc:docMk/>
            <pc:sldMk cId="3098136749" sldId="303"/>
            <ac:spMk id="8" creationId="{00000000-0000-0000-0000-000000000000}"/>
          </ac:spMkLst>
        </pc:spChg>
      </pc:sldChg>
      <pc:sldChg chg="modSp mod">
        <pc:chgData name="Matthias Scholer" userId="daad25a6-aca0-4d73-8528-03a468fe8ab9" providerId="ADAL" clId="{61F1D2C7-7A6C-4EA1-9543-00D7468A4E4D}" dt="2023-05-08T13:41:54.629" v="112" actId="14100"/>
        <pc:sldMkLst>
          <pc:docMk/>
          <pc:sldMk cId="3530153375" sldId="304"/>
        </pc:sldMkLst>
        <pc:spChg chg="mod">
          <ac:chgData name="Matthias Scholer" userId="daad25a6-aca0-4d73-8528-03a468fe8ab9" providerId="ADAL" clId="{61F1D2C7-7A6C-4EA1-9543-00D7468A4E4D}" dt="2023-05-08T13:41:54.629" v="112" actId="14100"/>
          <ac:spMkLst>
            <pc:docMk/>
            <pc:sldMk cId="3530153375" sldId="304"/>
            <ac:spMk id="2" creationId="{00000000-0000-0000-0000-000000000000}"/>
          </ac:spMkLst>
        </pc:spChg>
        <pc:spChg chg="mod">
          <ac:chgData name="Matthias Scholer" userId="daad25a6-aca0-4d73-8528-03a468fe8ab9" providerId="ADAL" clId="{61F1D2C7-7A6C-4EA1-9543-00D7468A4E4D}" dt="2023-05-08T13:38:12.953" v="0"/>
          <ac:spMkLst>
            <pc:docMk/>
            <pc:sldMk cId="3530153375" sldId="304"/>
            <ac:spMk id="5" creationId="{00000000-0000-0000-0000-000000000000}"/>
          </ac:spMkLst>
        </pc:spChg>
        <pc:spChg chg="mod">
          <ac:chgData name="Matthias Scholer" userId="daad25a6-aca0-4d73-8528-03a468fe8ab9" providerId="ADAL" clId="{61F1D2C7-7A6C-4EA1-9543-00D7468A4E4D}" dt="2023-05-08T13:38:12.953" v="0"/>
          <ac:spMkLst>
            <pc:docMk/>
            <pc:sldMk cId="3530153375" sldId="304"/>
            <ac:spMk id="11" creationId="{00000000-0000-0000-0000-000000000000}"/>
          </ac:spMkLst>
        </pc:spChg>
      </pc:sldChg>
      <pc:sldChg chg="modSp mod">
        <pc:chgData name="Matthias Scholer" userId="daad25a6-aca0-4d73-8528-03a468fe8ab9" providerId="ADAL" clId="{61F1D2C7-7A6C-4EA1-9543-00D7468A4E4D}" dt="2023-05-08T13:38:13.221" v="16" actId="27636"/>
        <pc:sldMkLst>
          <pc:docMk/>
          <pc:sldMk cId="1731629397" sldId="306"/>
        </pc:sldMkLst>
        <pc:spChg chg="mod">
          <ac:chgData name="Matthias Scholer" userId="daad25a6-aca0-4d73-8528-03a468fe8ab9" providerId="ADAL" clId="{61F1D2C7-7A6C-4EA1-9543-00D7468A4E4D}" dt="2023-05-08T13:38:13.221" v="16" actId="27636"/>
          <ac:spMkLst>
            <pc:docMk/>
            <pc:sldMk cId="1731629397" sldId="306"/>
            <ac:spMk id="2" creationId="{00000000-0000-0000-0000-000000000000}"/>
          </ac:spMkLst>
        </pc:spChg>
        <pc:spChg chg="mod">
          <ac:chgData name="Matthias Scholer" userId="daad25a6-aca0-4d73-8528-03a468fe8ab9" providerId="ADAL" clId="{61F1D2C7-7A6C-4EA1-9543-00D7468A4E4D}" dt="2023-05-08T13:38:12.953" v="0"/>
          <ac:spMkLst>
            <pc:docMk/>
            <pc:sldMk cId="1731629397" sldId="306"/>
            <ac:spMk id="6" creationId="{00000000-0000-0000-0000-000000000000}"/>
          </ac:spMkLst>
        </pc:spChg>
        <pc:spChg chg="mod">
          <ac:chgData name="Matthias Scholer" userId="daad25a6-aca0-4d73-8528-03a468fe8ab9" providerId="ADAL" clId="{61F1D2C7-7A6C-4EA1-9543-00D7468A4E4D}" dt="2023-05-08T13:38:12.953" v="0"/>
          <ac:spMkLst>
            <pc:docMk/>
            <pc:sldMk cId="1731629397" sldId="306"/>
            <ac:spMk id="8" creationId="{00000000-0000-0000-0000-000000000000}"/>
          </ac:spMkLst>
        </pc:spChg>
      </pc:sldChg>
      <pc:sldChg chg="modSp mod">
        <pc:chgData name="Matthias Scholer" userId="daad25a6-aca0-4d73-8528-03a468fe8ab9" providerId="ADAL" clId="{61F1D2C7-7A6C-4EA1-9543-00D7468A4E4D}" dt="2023-05-08T13:42:16.156" v="114" actId="14100"/>
        <pc:sldMkLst>
          <pc:docMk/>
          <pc:sldMk cId="1831664384" sldId="307"/>
        </pc:sldMkLst>
        <pc:spChg chg="mod">
          <ac:chgData name="Matthias Scholer" userId="daad25a6-aca0-4d73-8528-03a468fe8ab9" providerId="ADAL" clId="{61F1D2C7-7A6C-4EA1-9543-00D7468A4E4D}" dt="2023-05-08T13:42:16.156" v="114" actId="14100"/>
          <ac:spMkLst>
            <pc:docMk/>
            <pc:sldMk cId="1831664384" sldId="307"/>
            <ac:spMk id="2" creationId="{00000000-0000-0000-0000-000000000000}"/>
          </ac:spMkLst>
        </pc:spChg>
        <pc:spChg chg="mod">
          <ac:chgData name="Matthias Scholer" userId="daad25a6-aca0-4d73-8528-03a468fe8ab9" providerId="ADAL" clId="{61F1D2C7-7A6C-4EA1-9543-00D7468A4E4D}" dt="2023-05-08T13:38:12.953" v="0"/>
          <ac:spMkLst>
            <pc:docMk/>
            <pc:sldMk cId="1831664384" sldId="307"/>
            <ac:spMk id="8" creationId="{00000000-0000-0000-0000-000000000000}"/>
          </ac:spMkLst>
        </pc:spChg>
        <pc:spChg chg="mod">
          <ac:chgData name="Matthias Scholer" userId="daad25a6-aca0-4d73-8528-03a468fe8ab9" providerId="ADAL" clId="{61F1D2C7-7A6C-4EA1-9543-00D7468A4E4D}" dt="2023-05-08T13:38:12.953" v="0"/>
          <ac:spMkLst>
            <pc:docMk/>
            <pc:sldMk cId="1831664384" sldId="307"/>
            <ac:spMk id="9" creationId="{00000000-0000-0000-0000-000000000000}"/>
          </ac:spMkLst>
        </pc:spChg>
      </pc:sldChg>
      <pc:sldChg chg="modSp del mod">
        <pc:chgData name="Matthias Scholer" userId="daad25a6-aca0-4d73-8528-03a468fe8ab9" providerId="ADAL" clId="{61F1D2C7-7A6C-4EA1-9543-00D7468A4E4D}" dt="2023-05-08T13:43:49.673" v="142" actId="47"/>
        <pc:sldMkLst>
          <pc:docMk/>
          <pc:sldMk cId="3680929405" sldId="309"/>
        </pc:sldMkLst>
        <pc:spChg chg="mod">
          <ac:chgData name="Matthias Scholer" userId="daad25a6-aca0-4d73-8528-03a468fe8ab9" providerId="ADAL" clId="{61F1D2C7-7A6C-4EA1-9543-00D7468A4E4D}" dt="2023-05-08T13:38:13.272" v="25" actId="27636"/>
          <ac:spMkLst>
            <pc:docMk/>
            <pc:sldMk cId="3680929405" sldId="309"/>
            <ac:spMk id="2" creationId="{00000000-0000-0000-0000-000000000000}"/>
          </ac:spMkLst>
        </pc:spChg>
        <pc:spChg chg="mod">
          <ac:chgData name="Matthias Scholer" userId="daad25a6-aca0-4d73-8528-03a468fe8ab9" providerId="ADAL" clId="{61F1D2C7-7A6C-4EA1-9543-00D7468A4E4D}" dt="2023-05-08T13:38:12.953" v="0"/>
          <ac:spMkLst>
            <pc:docMk/>
            <pc:sldMk cId="3680929405" sldId="309"/>
            <ac:spMk id="6" creationId="{00000000-0000-0000-0000-000000000000}"/>
          </ac:spMkLst>
        </pc:spChg>
        <pc:spChg chg="mod">
          <ac:chgData name="Matthias Scholer" userId="daad25a6-aca0-4d73-8528-03a468fe8ab9" providerId="ADAL" clId="{61F1D2C7-7A6C-4EA1-9543-00D7468A4E4D}" dt="2023-05-08T13:38:12.953" v="0"/>
          <ac:spMkLst>
            <pc:docMk/>
            <pc:sldMk cId="3680929405" sldId="309"/>
            <ac:spMk id="7" creationId="{00000000-0000-0000-0000-000000000000}"/>
          </ac:spMkLst>
        </pc:spChg>
      </pc:sldChg>
      <pc:sldChg chg="modSp mod">
        <pc:chgData name="Matthias Scholer" userId="daad25a6-aca0-4d73-8528-03a468fe8ab9" providerId="ADAL" clId="{61F1D2C7-7A6C-4EA1-9543-00D7468A4E4D}" dt="2023-05-08T13:43:16.741" v="129" actId="1036"/>
        <pc:sldMkLst>
          <pc:docMk/>
          <pc:sldMk cId="569470924" sldId="310"/>
        </pc:sldMkLst>
        <pc:spChg chg="mod">
          <ac:chgData name="Matthias Scholer" userId="daad25a6-aca0-4d73-8528-03a468fe8ab9" providerId="ADAL" clId="{61F1D2C7-7A6C-4EA1-9543-00D7468A4E4D}" dt="2023-05-08T13:43:04.606" v="124" actId="1076"/>
          <ac:spMkLst>
            <pc:docMk/>
            <pc:sldMk cId="569470924" sldId="310"/>
            <ac:spMk id="2" creationId="{00000000-0000-0000-0000-000000000000}"/>
          </ac:spMkLst>
        </pc:spChg>
        <pc:spChg chg="mod">
          <ac:chgData name="Matthias Scholer" userId="daad25a6-aca0-4d73-8528-03a468fe8ab9" providerId="ADAL" clId="{61F1D2C7-7A6C-4EA1-9543-00D7468A4E4D}" dt="2023-05-08T13:43:16.741" v="129" actId="1036"/>
          <ac:spMkLst>
            <pc:docMk/>
            <pc:sldMk cId="569470924" sldId="310"/>
            <ac:spMk id="6" creationId="{00000000-0000-0000-0000-000000000000}"/>
          </ac:spMkLst>
        </pc:spChg>
        <pc:spChg chg="mod">
          <ac:chgData name="Matthias Scholer" userId="daad25a6-aca0-4d73-8528-03a468fe8ab9" providerId="ADAL" clId="{61F1D2C7-7A6C-4EA1-9543-00D7468A4E4D}" dt="2023-05-08T13:38:12.953" v="0"/>
          <ac:spMkLst>
            <pc:docMk/>
            <pc:sldMk cId="569470924" sldId="310"/>
            <ac:spMk id="7" creationId="{00000000-0000-0000-0000-000000000000}"/>
          </ac:spMkLst>
        </pc:spChg>
        <pc:spChg chg="mod">
          <ac:chgData name="Matthias Scholer" userId="daad25a6-aca0-4d73-8528-03a468fe8ab9" providerId="ADAL" clId="{61F1D2C7-7A6C-4EA1-9543-00D7468A4E4D}" dt="2023-05-08T13:38:12.953" v="0"/>
          <ac:spMkLst>
            <pc:docMk/>
            <pc:sldMk cId="569470924" sldId="310"/>
            <ac:spMk id="9" creationId="{00000000-0000-0000-0000-000000000000}"/>
          </ac:spMkLst>
        </pc:spChg>
        <pc:spChg chg="mod">
          <ac:chgData name="Matthias Scholer" userId="daad25a6-aca0-4d73-8528-03a468fe8ab9" providerId="ADAL" clId="{61F1D2C7-7A6C-4EA1-9543-00D7468A4E4D}" dt="2023-05-08T13:43:15.887" v="127" actId="1076"/>
          <ac:spMkLst>
            <pc:docMk/>
            <pc:sldMk cId="569470924" sldId="310"/>
            <ac:spMk id="10" creationId="{00000000-0000-0000-0000-000000000000}"/>
          </ac:spMkLst>
        </pc:spChg>
      </pc:sldChg>
      <pc:sldChg chg="modSp mod">
        <pc:chgData name="Matthias Scholer" userId="daad25a6-aca0-4d73-8528-03a468fe8ab9" providerId="ADAL" clId="{61F1D2C7-7A6C-4EA1-9543-00D7468A4E4D}" dt="2023-05-08T13:38:13.235" v="18" actId="27636"/>
        <pc:sldMkLst>
          <pc:docMk/>
          <pc:sldMk cId="2459301635" sldId="311"/>
        </pc:sldMkLst>
        <pc:spChg chg="mod">
          <ac:chgData name="Matthias Scholer" userId="daad25a6-aca0-4d73-8528-03a468fe8ab9" providerId="ADAL" clId="{61F1D2C7-7A6C-4EA1-9543-00D7468A4E4D}" dt="2023-05-08T13:38:13.235" v="18" actId="27636"/>
          <ac:spMkLst>
            <pc:docMk/>
            <pc:sldMk cId="2459301635" sldId="311"/>
            <ac:spMk id="2" creationId="{00000000-0000-0000-0000-000000000000}"/>
          </ac:spMkLst>
        </pc:spChg>
        <pc:spChg chg="mod">
          <ac:chgData name="Matthias Scholer" userId="daad25a6-aca0-4d73-8528-03a468fe8ab9" providerId="ADAL" clId="{61F1D2C7-7A6C-4EA1-9543-00D7468A4E4D}" dt="2023-05-08T13:38:12.953" v="0"/>
          <ac:spMkLst>
            <pc:docMk/>
            <pc:sldMk cId="2459301635" sldId="311"/>
            <ac:spMk id="5" creationId="{00000000-0000-0000-0000-000000000000}"/>
          </ac:spMkLst>
        </pc:spChg>
        <pc:spChg chg="mod">
          <ac:chgData name="Matthias Scholer" userId="daad25a6-aca0-4d73-8528-03a468fe8ab9" providerId="ADAL" clId="{61F1D2C7-7A6C-4EA1-9543-00D7468A4E4D}" dt="2023-05-08T13:38:12.953" v="0"/>
          <ac:spMkLst>
            <pc:docMk/>
            <pc:sldMk cId="2459301635" sldId="311"/>
            <ac:spMk id="7" creationId="{00000000-0000-0000-0000-000000000000}"/>
          </ac:spMkLst>
        </pc:spChg>
      </pc:sldChg>
      <pc:sldChg chg="modSp mod">
        <pc:chgData name="Matthias Scholer" userId="daad25a6-aca0-4d73-8528-03a468fe8ab9" providerId="ADAL" clId="{61F1D2C7-7A6C-4EA1-9543-00D7468A4E4D}" dt="2023-05-08T13:42:44.719" v="121" actId="1076"/>
        <pc:sldMkLst>
          <pc:docMk/>
          <pc:sldMk cId="477197256" sldId="312"/>
        </pc:sldMkLst>
        <pc:spChg chg="mod">
          <ac:chgData name="Matthias Scholer" userId="daad25a6-aca0-4d73-8528-03a468fe8ab9" providerId="ADAL" clId="{61F1D2C7-7A6C-4EA1-9543-00D7468A4E4D}" dt="2023-05-08T13:42:37.042" v="118" actId="948"/>
          <ac:spMkLst>
            <pc:docMk/>
            <pc:sldMk cId="477197256" sldId="312"/>
            <ac:spMk id="2" creationId="{00000000-0000-0000-0000-000000000000}"/>
          </ac:spMkLst>
        </pc:spChg>
        <pc:spChg chg="mod">
          <ac:chgData name="Matthias Scholer" userId="daad25a6-aca0-4d73-8528-03a468fe8ab9" providerId="ADAL" clId="{61F1D2C7-7A6C-4EA1-9543-00D7468A4E4D}" dt="2023-05-08T13:38:12.953" v="0"/>
          <ac:spMkLst>
            <pc:docMk/>
            <pc:sldMk cId="477197256" sldId="312"/>
            <ac:spMk id="5" creationId="{00000000-0000-0000-0000-000000000000}"/>
          </ac:spMkLst>
        </pc:spChg>
        <pc:spChg chg="mod">
          <ac:chgData name="Matthias Scholer" userId="daad25a6-aca0-4d73-8528-03a468fe8ab9" providerId="ADAL" clId="{61F1D2C7-7A6C-4EA1-9543-00D7468A4E4D}" dt="2023-05-08T13:38:12.953" v="0"/>
          <ac:spMkLst>
            <pc:docMk/>
            <pc:sldMk cId="477197256" sldId="312"/>
            <ac:spMk id="7" creationId="{00000000-0000-0000-0000-000000000000}"/>
          </ac:spMkLst>
        </pc:spChg>
        <pc:spChg chg="mod">
          <ac:chgData name="Matthias Scholer" userId="daad25a6-aca0-4d73-8528-03a468fe8ab9" providerId="ADAL" clId="{61F1D2C7-7A6C-4EA1-9543-00D7468A4E4D}" dt="2023-05-08T13:42:44.719" v="121" actId="1076"/>
          <ac:spMkLst>
            <pc:docMk/>
            <pc:sldMk cId="477197256" sldId="312"/>
            <ac:spMk id="8" creationId="{00000000-0000-0000-0000-000000000000}"/>
          </ac:spMkLst>
        </pc:spChg>
        <pc:picChg chg="mod">
          <ac:chgData name="Matthias Scholer" userId="daad25a6-aca0-4d73-8528-03a468fe8ab9" providerId="ADAL" clId="{61F1D2C7-7A6C-4EA1-9543-00D7468A4E4D}" dt="2023-05-08T13:42:41.876" v="120" actId="1076"/>
          <ac:picMkLst>
            <pc:docMk/>
            <pc:sldMk cId="477197256" sldId="312"/>
            <ac:picMk id="4" creationId="{00000000-0000-0000-0000-000000000000}"/>
          </ac:picMkLst>
        </pc:picChg>
      </pc:sldChg>
      <pc:sldChg chg="addSp modSp mod">
        <pc:chgData name="Matthias Scholer" userId="daad25a6-aca0-4d73-8528-03a468fe8ab9" providerId="ADAL" clId="{61F1D2C7-7A6C-4EA1-9543-00D7468A4E4D}" dt="2023-05-08T13:42:08.564" v="113"/>
        <pc:sldMkLst>
          <pc:docMk/>
          <pc:sldMk cId="1445859991" sldId="313"/>
        </pc:sldMkLst>
        <pc:spChg chg="mod">
          <ac:chgData name="Matthias Scholer" userId="daad25a6-aca0-4d73-8528-03a468fe8ab9" providerId="ADAL" clId="{61F1D2C7-7A6C-4EA1-9543-00D7468A4E4D}" dt="2023-05-08T13:38:13.206" v="13" actId="27636"/>
          <ac:spMkLst>
            <pc:docMk/>
            <pc:sldMk cId="1445859991" sldId="313"/>
            <ac:spMk id="2" creationId="{00000000-0000-0000-0000-000000000000}"/>
          </ac:spMkLst>
        </pc:spChg>
        <pc:spChg chg="add mod">
          <ac:chgData name="Matthias Scholer" userId="daad25a6-aca0-4d73-8528-03a468fe8ab9" providerId="ADAL" clId="{61F1D2C7-7A6C-4EA1-9543-00D7468A4E4D}" dt="2023-05-08T13:42:08.564" v="113"/>
          <ac:spMkLst>
            <pc:docMk/>
            <pc:sldMk cId="1445859991" sldId="313"/>
            <ac:spMk id="3" creationId="{B8C6345A-8696-53C5-27B5-0C2544252C77}"/>
          </ac:spMkLst>
        </pc:spChg>
        <pc:spChg chg="mod">
          <ac:chgData name="Matthias Scholer" userId="daad25a6-aca0-4d73-8528-03a468fe8ab9" providerId="ADAL" clId="{61F1D2C7-7A6C-4EA1-9543-00D7468A4E4D}" dt="2023-05-08T13:38:12.953" v="0"/>
          <ac:spMkLst>
            <pc:docMk/>
            <pc:sldMk cId="1445859991" sldId="313"/>
            <ac:spMk id="5" creationId="{00000000-0000-0000-0000-000000000000}"/>
          </ac:spMkLst>
        </pc:spChg>
        <pc:spChg chg="mod">
          <ac:chgData name="Matthias Scholer" userId="daad25a6-aca0-4d73-8528-03a468fe8ab9" providerId="ADAL" clId="{61F1D2C7-7A6C-4EA1-9543-00D7468A4E4D}" dt="2023-05-08T13:38:12.953" v="0"/>
          <ac:spMkLst>
            <pc:docMk/>
            <pc:sldMk cId="1445859991" sldId="313"/>
            <ac:spMk id="7" creationId="{00000000-0000-0000-0000-000000000000}"/>
          </ac:spMkLst>
        </pc:spChg>
      </pc:sldChg>
      <pc:sldChg chg="add del">
        <pc:chgData name="Matthias Scholer" userId="daad25a6-aca0-4d73-8528-03a468fe8ab9" providerId="ADAL" clId="{61F1D2C7-7A6C-4EA1-9543-00D7468A4E4D}" dt="2023-05-17T12:22:36.950" v="254" actId="2696"/>
        <pc:sldMkLst>
          <pc:docMk/>
          <pc:sldMk cId="698004571" sldId="314"/>
        </pc:sldMkLst>
      </pc:sldChg>
      <pc:sldChg chg="modSp mod">
        <pc:chgData name="Matthias Scholer" userId="daad25a6-aca0-4d73-8528-03a468fe8ab9" providerId="ADAL" clId="{61F1D2C7-7A6C-4EA1-9543-00D7468A4E4D}" dt="2023-05-08T13:42:25.547" v="116" actId="14100"/>
        <pc:sldMkLst>
          <pc:docMk/>
          <pc:sldMk cId="2335738124" sldId="315"/>
        </pc:sldMkLst>
        <pc:spChg chg="mod">
          <ac:chgData name="Matthias Scholer" userId="daad25a6-aca0-4d73-8528-03a468fe8ab9" providerId="ADAL" clId="{61F1D2C7-7A6C-4EA1-9543-00D7468A4E4D}" dt="2023-05-08T13:42:25.547" v="116" actId="14100"/>
          <ac:spMkLst>
            <pc:docMk/>
            <pc:sldMk cId="2335738124" sldId="315"/>
            <ac:spMk id="2" creationId="{00000000-0000-0000-0000-000000000000}"/>
          </ac:spMkLst>
        </pc:spChg>
        <pc:spChg chg="mod">
          <ac:chgData name="Matthias Scholer" userId="daad25a6-aca0-4d73-8528-03a468fe8ab9" providerId="ADAL" clId="{61F1D2C7-7A6C-4EA1-9543-00D7468A4E4D}" dt="2023-05-08T13:38:12.953" v="0"/>
          <ac:spMkLst>
            <pc:docMk/>
            <pc:sldMk cId="2335738124" sldId="315"/>
            <ac:spMk id="4" creationId="{00000000-0000-0000-0000-000000000000}"/>
          </ac:spMkLst>
        </pc:spChg>
        <pc:spChg chg="mod">
          <ac:chgData name="Matthias Scholer" userId="daad25a6-aca0-4d73-8528-03a468fe8ab9" providerId="ADAL" clId="{61F1D2C7-7A6C-4EA1-9543-00D7468A4E4D}" dt="2023-05-08T13:38:12.953" v="0"/>
          <ac:spMkLst>
            <pc:docMk/>
            <pc:sldMk cId="2335738124" sldId="315"/>
            <ac:spMk id="5" creationId="{00000000-0000-0000-0000-000000000000}"/>
          </ac:spMkLst>
        </pc:spChg>
      </pc:sldChg>
      <pc:sldChg chg="add del">
        <pc:chgData name="Matthias Scholer" userId="daad25a6-aca0-4d73-8528-03a468fe8ab9" providerId="ADAL" clId="{61F1D2C7-7A6C-4EA1-9543-00D7468A4E4D}" dt="2023-05-17T12:22:36.950" v="254" actId="2696"/>
        <pc:sldMkLst>
          <pc:docMk/>
          <pc:sldMk cId="1476810213" sldId="316"/>
        </pc:sldMkLst>
      </pc:sldChg>
      <pc:sldChg chg="add del">
        <pc:chgData name="Matthias Scholer" userId="daad25a6-aca0-4d73-8528-03a468fe8ab9" providerId="ADAL" clId="{61F1D2C7-7A6C-4EA1-9543-00D7468A4E4D}" dt="2023-05-17T12:22:36.950" v="254" actId="2696"/>
        <pc:sldMkLst>
          <pc:docMk/>
          <pc:sldMk cId="696833310" sldId="317"/>
        </pc:sldMkLst>
      </pc:sldChg>
      <pc:sldChg chg="modSp mod">
        <pc:chgData name="Matthias Scholer" userId="daad25a6-aca0-4d73-8528-03a468fe8ab9" providerId="ADAL" clId="{61F1D2C7-7A6C-4EA1-9543-00D7468A4E4D}" dt="2023-05-17T08:45:56.083" v="149" actId="1076"/>
        <pc:sldMkLst>
          <pc:docMk/>
          <pc:sldMk cId="3099146076" sldId="318"/>
        </pc:sldMkLst>
        <pc:spChg chg="mod">
          <ac:chgData name="Matthias Scholer" userId="daad25a6-aca0-4d73-8528-03a468fe8ab9" providerId="ADAL" clId="{61F1D2C7-7A6C-4EA1-9543-00D7468A4E4D}" dt="2023-05-08T13:38:13.148" v="8" actId="27636"/>
          <ac:spMkLst>
            <pc:docMk/>
            <pc:sldMk cId="3099146076" sldId="318"/>
            <ac:spMk id="2" creationId="{00000000-0000-0000-0000-000000000000}"/>
          </ac:spMkLst>
        </pc:spChg>
        <pc:spChg chg="mod">
          <ac:chgData name="Matthias Scholer" userId="daad25a6-aca0-4d73-8528-03a468fe8ab9" providerId="ADAL" clId="{61F1D2C7-7A6C-4EA1-9543-00D7468A4E4D}" dt="2023-05-17T08:45:56.083" v="149" actId="1076"/>
          <ac:spMkLst>
            <pc:docMk/>
            <pc:sldMk cId="3099146076" sldId="318"/>
            <ac:spMk id="6" creationId="{00000000-0000-0000-0000-000000000000}"/>
          </ac:spMkLst>
        </pc:spChg>
        <pc:spChg chg="mod">
          <ac:chgData name="Matthias Scholer" userId="daad25a6-aca0-4d73-8528-03a468fe8ab9" providerId="ADAL" clId="{61F1D2C7-7A6C-4EA1-9543-00D7468A4E4D}" dt="2023-05-08T13:38:12.953" v="0"/>
          <ac:spMkLst>
            <pc:docMk/>
            <pc:sldMk cId="3099146076" sldId="318"/>
            <ac:spMk id="8" creationId="{00000000-0000-0000-0000-000000000000}"/>
          </ac:spMkLst>
        </pc:spChg>
        <pc:spChg chg="mod">
          <ac:chgData name="Matthias Scholer" userId="daad25a6-aca0-4d73-8528-03a468fe8ab9" providerId="ADAL" clId="{61F1D2C7-7A6C-4EA1-9543-00D7468A4E4D}" dt="2023-05-08T13:38:12.953" v="0"/>
          <ac:spMkLst>
            <pc:docMk/>
            <pc:sldMk cId="3099146076" sldId="318"/>
            <ac:spMk id="9" creationId="{00000000-0000-0000-0000-000000000000}"/>
          </ac:spMkLst>
        </pc:spChg>
      </pc:sldChg>
      <pc:sldChg chg="add del">
        <pc:chgData name="Matthias Scholer" userId="daad25a6-aca0-4d73-8528-03a468fe8ab9" providerId="ADAL" clId="{61F1D2C7-7A6C-4EA1-9543-00D7468A4E4D}" dt="2023-05-17T12:22:36.950" v="254" actId="2696"/>
        <pc:sldMkLst>
          <pc:docMk/>
          <pc:sldMk cId="1892556779" sldId="319"/>
        </pc:sldMkLst>
      </pc:sldChg>
      <pc:sldChg chg="add">
        <pc:chgData name="Matthias Scholer" userId="daad25a6-aca0-4d73-8528-03a468fe8ab9" providerId="ADAL" clId="{61F1D2C7-7A6C-4EA1-9543-00D7468A4E4D}" dt="2023-05-17T12:02:50.882" v="162"/>
        <pc:sldMkLst>
          <pc:docMk/>
          <pc:sldMk cId="364847650" sldId="320"/>
        </pc:sldMkLst>
      </pc:sldChg>
      <pc:sldChg chg="modSp mod">
        <pc:chgData name="Matthias Scholer" userId="daad25a6-aca0-4d73-8528-03a468fe8ab9" providerId="ADAL" clId="{61F1D2C7-7A6C-4EA1-9543-00D7468A4E4D}" dt="2023-05-08T13:43:21.627" v="130" actId="1076"/>
        <pc:sldMkLst>
          <pc:docMk/>
          <pc:sldMk cId="1552950511" sldId="321"/>
        </pc:sldMkLst>
        <pc:spChg chg="mod">
          <ac:chgData name="Matthias Scholer" userId="daad25a6-aca0-4d73-8528-03a468fe8ab9" providerId="ADAL" clId="{61F1D2C7-7A6C-4EA1-9543-00D7468A4E4D}" dt="2023-05-08T13:38:13.253" v="22" actId="27636"/>
          <ac:spMkLst>
            <pc:docMk/>
            <pc:sldMk cId="1552950511" sldId="321"/>
            <ac:spMk id="2" creationId="{00000000-0000-0000-0000-000000000000}"/>
          </ac:spMkLst>
        </pc:spChg>
        <pc:spChg chg="mod">
          <ac:chgData name="Matthias Scholer" userId="daad25a6-aca0-4d73-8528-03a468fe8ab9" providerId="ADAL" clId="{61F1D2C7-7A6C-4EA1-9543-00D7468A4E4D}" dt="2023-05-08T13:38:12.953" v="0"/>
          <ac:spMkLst>
            <pc:docMk/>
            <pc:sldMk cId="1552950511" sldId="321"/>
            <ac:spMk id="4" creationId="{00000000-0000-0000-0000-000000000000}"/>
          </ac:spMkLst>
        </pc:spChg>
        <pc:spChg chg="mod">
          <ac:chgData name="Matthias Scholer" userId="daad25a6-aca0-4d73-8528-03a468fe8ab9" providerId="ADAL" clId="{61F1D2C7-7A6C-4EA1-9543-00D7468A4E4D}" dt="2023-05-08T13:38:12.953" v="0"/>
          <ac:spMkLst>
            <pc:docMk/>
            <pc:sldMk cId="1552950511" sldId="321"/>
            <ac:spMk id="6" creationId="{00000000-0000-0000-0000-000000000000}"/>
          </ac:spMkLst>
        </pc:spChg>
        <pc:spChg chg="mod">
          <ac:chgData name="Matthias Scholer" userId="daad25a6-aca0-4d73-8528-03a468fe8ab9" providerId="ADAL" clId="{61F1D2C7-7A6C-4EA1-9543-00D7468A4E4D}" dt="2023-05-08T13:43:21.627" v="130" actId="1076"/>
          <ac:spMkLst>
            <pc:docMk/>
            <pc:sldMk cId="1552950511" sldId="321"/>
            <ac:spMk id="11" creationId="{00000000-0000-0000-0000-000000000000}"/>
          </ac:spMkLst>
        </pc:spChg>
      </pc:sldChg>
      <pc:sldChg chg="add">
        <pc:chgData name="Matthias Scholer" userId="daad25a6-aca0-4d73-8528-03a468fe8ab9" providerId="ADAL" clId="{61F1D2C7-7A6C-4EA1-9543-00D7468A4E4D}" dt="2023-05-17T12:02:50.882" v="162"/>
        <pc:sldMkLst>
          <pc:docMk/>
          <pc:sldMk cId="3795163419" sldId="322"/>
        </pc:sldMkLst>
      </pc:sldChg>
      <pc:sldChg chg="modSp mod">
        <pc:chgData name="Matthias Scholer" userId="daad25a6-aca0-4d73-8528-03a468fe8ab9" providerId="ADAL" clId="{61F1D2C7-7A6C-4EA1-9543-00D7468A4E4D}" dt="2023-05-08T13:38:13.256" v="23" actId="27636"/>
        <pc:sldMkLst>
          <pc:docMk/>
          <pc:sldMk cId="1108153589" sldId="323"/>
        </pc:sldMkLst>
        <pc:spChg chg="mod">
          <ac:chgData name="Matthias Scholer" userId="daad25a6-aca0-4d73-8528-03a468fe8ab9" providerId="ADAL" clId="{61F1D2C7-7A6C-4EA1-9543-00D7468A4E4D}" dt="2023-05-08T13:38:13.256" v="23" actId="27636"/>
          <ac:spMkLst>
            <pc:docMk/>
            <pc:sldMk cId="1108153589" sldId="323"/>
            <ac:spMk id="2" creationId="{00000000-0000-0000-0000-000000000000}"/>
          </ac:spMkLst>
        </pc:spChg>
        <pc:spChg chg="mod">
          <ac:chgData name="Matthias Scholer" userId="daad25a6-aca0-4d73-8528-03a468fe8ab9" providerId="ADAL" clId="{61F1D2C7-7A6C-4EA1-9543-00D7468A4E4D}" dt="2023-05-08T13:38:12.953" v="0"/>
          <ac:spMkLst>
            <pc:docMk/>
            <pc:sldMk cId="1108153589" sldId="323"/>
            <ac:spMk id="4" creationId="{00000000-0000-0000-0000-000000000000}"/>
          </ac:spMkLst>
        </pc:spChg>
        <pc:spChg chg="mod">
          <ac:chgData name="Matthias Scholer" userId="daad25a6-aca0-4d73-8528-03a468fe8ab9" providerId="ADAL" clId="{61F1D2C7-7A6C-4EA1-9543-00D7468A4E4D}" dt="2023-05-08T13:38:12.953" v="0"/>
          <ac:spMkLst>
            <pc:docMk/>
            <pc:sldMk cId="1108153589" sldId="323"/>
            <ac:spMk id="5" creationId="{00000000-0000-0000-0000-000000000000}"/>
          </ac:spMkLst>
        </pc:spChg>
      </pc:sldChg>
      <pc:sldChg chg="modSp mod">
        <pc:chgData name="Matthias Scholer" userId="daad25a6-aca0-4d73-8528-03a468fe8ab9" providerId="ADAL" clId="{61F1D2C7-7A6C-4EA1-9543-00D7468A4E4D}" dt="2023-05-08T13:43:45.799" v="141" actId="1036"/>
        <pc:sldMkLst>
          <pc:docMk/>
          <pc:sldMk cId="3424468591" sldId="324"/>
        </pc:sldMkLst>
        <pc:spChg chg="mod">
          <ac:chgData name="Matthias Scholer" userId="daad25a6-aca0-4d73-8528-03a468fe8ab9" providerId="ADAL" clId="{61F1D2C7-7A6C-4EA1-9543-00D7468A4E4D}" dt="2023-05-08T13:38:13.270" v="24" actId="27636"/>
          <ac:spMkLst>
            <pc:docMk/>
            <pc:sldMk cId="3424468591" sldId="324"/>
            <ac:spMk id="2" creationId="{00000000-0000-0000-0000-000000000000}"/>
          </ac:spMkLst>
        </pc:spChg>
        <pc:spChg chg="mod">
          <ac:chgData name="Matthias Scholer" userId="daad25a6-aca0-4d73-8528-03a468fe8ab9" providerId="ADAL" clId="{61F1D2C7-7A6C-4EA1-9543-00D7468A4E4D}" dt="2023-05-08T13:38:12.953" v="0"/>
          <ac:spMkLst>
            <pc:docMk/>
            <pc:sldMk cId="3424468591" sldId="324"/>
            <ac:spMk id="4" creationId="{00000000-0000-0000-0000-000000000000}"/>
          </ac:spMkLst>
        </pc:spChg>
        <pc:spChg chg="mod">
          <ac:chgData name="Matthias Scholer" userId="daad25a6-aca0-4d73-8528-03a468fe8ab9" providerId="ADAL" clId="{61F1D2C7-7A6C-4EA1-9543-00D7468A4E4D}" dt="2023-05-08T13:38:12.953" v="0"/>
          <ac:spMkLst>
            <pc:docMk/>
            <pc:sldMk cId="3424468591" sldId="324"/>
            <ac:spMk id="6" creationId="{00000000-0000-0000-0000-000000000000}"/>
          </ac:spMkLst>
        </pc:spChg>
        <pc:spChg chg="mod">
          <ac:chgData name="Matthias Scholer" userId="daad25a6-aca0-4d73-8528-03a468fe8ab9" providerId="ADAL" clId="{61F1D2C7-7A6C-4EA1-9543-00D7468A4E4D}" dt="2023-05-08T13:43:45.799" v="141" actId="1036"/>
          <ac:spMkLst>
            <pc:docMk/>
            <pc:sldMk cId="3424468591" sldId="324"/>
            <ac:spMk id="8" creationId="{00000000-0000-0000-0000-000000000000}"/>
          </ac:spMkLst>
        </pc:spChg>
      </pc:sldChg>
      <pc:sldChg chg="modSp mod">
        <pc:chgData name="Matthias Scholer" userId="daad25a6-aca0-4d73-8528-03a468fe8ab9" providerId="ADAL" clId="{61F1D2C7-7A6C-4EA1-9543-00D7468A4E4D}" dt="2023-05-08T13:43:37.223" v="133" actId="1076"/>
        <pc:sldMkLst>
          <pc:docMk/>
          <pc:sldMk cId="3350547285" sldId="325"/>
        </pc:sldMkLst>
        <pc:spChg chg="mod">
          <ac:chgData name="Matthias Scholer" userId="daad25a6-aca0-4d73-8528-03a468fe8ab9" providerId="ADAL" clId="{61F1D2C7-7A6C-4EA1-9543-00D7468A4E4D}" dt="2023-05-08T13:43:34.287" v="132" actId="14100"/>
          <ac:spMkLst>
            <pc:docMk/>
            <pc:sldMk cId="3350547285" sldId="325"/>
            <ac:spMk id="2" creationId="{00000000-0000-0000-0000-000000000000}"/>
          </ac:spMkLst>
        </pc:spChg>
        <pc:spChg chg="mod">
          <ac:chgData name="Matthias Scholer" userId="daad25a6-aca0-4d73-8528-03a468fe8ab9" providerId="ADAL" clId="{61F1D2C7-7A6C-4EA1-9543-00D7468A4E4D}" dt="2023-05-08T13:38:12.953" v="0"/>
          <ac:spMkLst>
            <pc:docMk/>
            <pc:sldMk cId="3350547285" sldId="325"/>
            <ac:spMk id="7" creationId="{00000000-0000-0000-0000-000000000000}"/>
          </ac:spMkLst>
        </pc:spChg>
        <pc:spChg chg="mod">
          <ac:chgData name="Matthias Scholer" userId="daad25a6-aca0-4d73-8528-03a468fe8ab9" providerId="ADAL" clId="{61F1D2C7-7A6C-4EA1-9543-00D7468A4E4D}" dt="2023-05-08T13:38:12.953" v="0"/>
          <ac:spMkLst>
            <pc:docMk/>
            <pc:sldMk cId="3350547285" sldId="325"/>
            <ac:spMk id="8" creationId="{00000000-0000-0000-0000-000000000000}"/>
          </ac:spMkLst>
        </pc:spChg>
        <pc:picChg chg="mod">
          <ac:chgData name="Matthias Scholer" userId="daad25a6-aca0-4d73-8528-03a468fe8ab9" providerId="ADAL" clId="{61F1D2C7-7A6C-4EA1-9543-00D7468A4E4D}" dt="2023-05-08T13:43:37.223" v="133" actId="1076"/>
          <ac:picMkLst>
            <pc:docMk/>
            <pc:sldMk cId="3350547285" sldId="325"/>
            <ac:picMk id="4" creationId="{00000000-0000-0000-0000-000000000000}"/>
          </ac:picMkLst>
        </pc:picChg>
      </pc:sldChg>
      <pc:sldChg chg="modSp del mod">
        <pc:chgData name="Matthias Scholer" userId="daad25a6-aca0-4d73-8528-03a468fe8ab9" providerId="ADAL" clId="{61F1D2C7-7A6C-4EA1-9543-00D7468A4E4D}" dt="2023-05-17T08:52:02.939" v="160" actId="2696"/>
        <pc:sldMkLst>
          <pc:docMk/>
          <pc:sldMk cId="3617712734" sldId="327"/>
        </pc:sldMkLst>
        <pc:spChg chg="mod">
          <ac:chgData name="Matthias Scholer" userId="daad25a6-aca0-4d73-8528-03a468fe8ab9" providerId="ADAL" clId="{61F1D2C7-7A6C-4EA1-9543-00D7468A4E4D}" dt="2023-05-08T13:38:13.323" v="31" actId="27636"/>
          <ac:spMkLst>
            <pc:docMk/>
            <pc:sldMk cId="3617712734" sldId="327"/>
            <ac:spMk id="2" creationId="{00000000-0000-0000-0000-000000000000}"/>
          </ac:spMkLst>
        </pc:spChg>
        <pc:spChg chg="mod">
          <ac:chgData name="Matthias Scholer" userId="daad25a6-aca0-4d73-8528-03a468fe8ab9" providerId="ADAL" clId="{61F1D2C7-7A6C-4EA1-9543-00D7468A4E4D}" dt="2023-05-08T13:38:12.953" v="0"/>
          <ac:spMkLst>
            <pc:docMk/>
            <pc:sldMk cId="3617712734" sldId="327"/>
            <ac:spMk id="6" creationId="{00000000-0000-0000-0000-000000000000}"/>
          </ac:spMkLst>
        </pc:spChg>
        <pc:spChg chg="mod">
          <ac:chgData name="Matthias Scholer" userId="daad25a6-aca0-4d73-8528-03a468fe8ab9" providerId="ADAL" clId="{61F1D2C7-7A6C-4EA1-9543-00D7468A4E4D}" dt="2023-05-08T13:38:12.953" v="0"/>
          <ac:spMkLst>
            <pc:docMk/>
            <pc:sldMk cId="3617712734" sldId="327"/>
            <ac:spMk id="7" creationId="{00000000-0000-0000-0000-000000000000}"/>
          </ac:spMkLst>
        </pc:spChg>
      </pc:sldChg>
      <pc:sldChg chg="modSp del mod">
        <pc:chgData name="Matthias Scholer" userId="daad25a6-aca0-4d73-8528-03a468fe8ab9" providerId="ADAL" clId="{61F1D2C7-7A6C-4EA1-9543-00D7468A4E4D}" dt="2023-05-17T08:52:02.939" v="160" actId="2696"/>
        <pc:sldMkLst>
          <pc:docMk/>
          <pc:sldMk cId="939741827" sldId="328"/>
        </pc:sldMkLst>
        <pc:spChg chg="mod">
          <ac:chgData name="Matthias Scholer" userId="daad25a6-aca0-4d73-8528-03a468fe8ab9" providerId="ADAL" clId="{61F1D2C7-7A6C-4EA1-9543-00D7468A4E4D}" dt="2023-05-08T13:44:29.226" v="148" actId="14100"/>
          <ac:spMkLst>
            <pc:docMk/>
            <pc:sldMk cId="939741827" sldId="328"/>
            <ac:spMk id="2" creationId="{00000000-0000-0000-0000-000000000000}"/>
          </ac:spMkLst>
        </pc:spChg>
        <pc:spChg chg="mod">
          <ac:chgData name="Matthias Scholer" userId="daad25a6-aca0-4d73-8528-03a468fe8ab9" providerId="ADAL" clId="{61F1D2C7-7A6C-4EA1-9543-00D7468A4E4D}" dt="2023-05-08T13:38:12.953" v="0"/>
          <ac:spMkLst>
            <pc:docMk/>
            <pc:sldMk cId="939741827" sldId="328"/>
            <ac:spMk id="4" creationId="{00000000-0000-0000-0000-000000000000}"/>
          </ac:spMkLst>
        </pc:spChg>
        <pc:spChg chg="mod">
          <ac:chgData name="Matthias Scholer" userId="daad25a6-aca0-4d73-8528-03a468fe8ab9" providerId="ADAL" clId="{61F1D2C7-7A6C-4EA1-9543-00D7468A4E4D}" dt="2023-05-08T13:38:12.953" v="0"/>
          <ac:spMkLst>
            <pc:docMk/>
            <pc:sldMk cId="939741827" sldId="328"/>
            <ac:spMk id="7" creationId="{00000000-0000-0000-0000-000000000000}"/>
          </ac:spMkLst>
        </pc:spChg>
      </pc:sldChg>
      <pc:sldChg chg="modSp del mod">
        <pc:chgData name="Matthias Scholer" userId="daad25a6-aca0-4d73-8528-03a468fe8ab9" providerId="ADAL" clId="{61F1D2C7-7A6C-4EA1-9543-00D7468A4E4D}" dt="2023-05-17T08:52:02.939" v="160" actId="2696"/>
        <pc:sldMkLst>
          <pc:docMk/>
          <pc:sldMk cId="2425551802" sldId="329"/>
        </pc:sldMkLst>
        <pc:spChg chg="mod">
          <ac:chgData name="Matthias Scholer" userId="daad25a6-aca0-4d73-8528-03a468fe8ab9" providerId="ADAL" clId="{61F1D2C7-7A6C-4EA1-9543-00D7468A4E4D}" dt="2023-05-08T13:44:15.587" v="145" actId="948"/>
          <ac:spMkLst>
            <pc:docMk/>
            <pc:sldMk cId="2425551802" sldId="329"/>
            <ac:spMk id="2" creationId="{00000000-0000-0000-0000-000000000000}"/>
          </ac:spMkLst>
        </pc:spChg>
        <pc:spChg chg="mod">
          <ac:chgData name="Matthias Scholer" userId="daad25a6-aca0-4d73-8528-03a468fe8ab9" providerId="ADAL" clId="{61F1D2C7-7A6C-4EA1-9543-00D7468A4E4D}" dt="2023-05-08T13:38:12.953" v="0"/>
          <ac:spMkLst>
            <pc:docMk/>
            <pc:sldMk cId="2425551802" sldId="329"/>
            <ac:spMk id="5" creationId="{00000000-0000-0000-0000-000000000000}"/>
          </ac:spMkLst>
        </pc:spChg>
        <pc:spChg chg="mod">
          <ac:chgData name="Matthias Scholer" userId="daad25a6-aca0-4d73-8528-03a468fe8ab9" providerId="ADAL" clId="{61F1D2C7-7A6C-4EA1-9543-00D7468A4E4D}" dt="2023-05-08T13:38:12.953" v="0"/>
          <ac:spMkLst>
            <pc:docMk/>
            <pc:sldMk cId="2425551802" sldId="329"/>
            <ac:spMk id="7" creationId="{00000000-0000-0000-0000-000000000000}"/>
          </ac:spMkLst>
        </pc:spChg>
        <pc:spChg chg="mod">
          <ac:chgData name="Matthias Scholer" userId="daad25a6-aca0-4d73-8528-03a468fe8ab9" providerId="ADAL" clId="{61F1D2C7-7A6C-4EA1-9543-00D7468A4E4D}" dt="2023-05-08T13:44:19.599" v="146" actId="1076"/>
          <ac:spMkLst>
            <pc:docMk/>
            <pc:sldMk cId="2425551802" sldId="329"/>
            <ac:spMk id="8" creationId="{00000000-0000-0000-0000-000000000000}"/>
          </ac:spMkLst>
        </pc:spChg>
      </pc:sldChg>
      <pc:sldChg chg="add">
        <pc:chgData name="Matthias Scholer" userId="daad25a6-aca0-4d73-8528-03a468fe8ab9" providerId="ADAL" clId="{61F1D2C7-7A6C-4EA1-9543-00D7468A4E4D}" dt="2023-05-22T08:00:42.995" v="260"/>
        <pc:sldMkLst>
          <pc:docMk/>
          <pc:sldMk cId="1909289698" sldId="330"/>
        </pc:sldMkLst>
      </pc:sldChg>
      <pc:sldChg chg="modSp del mod">
        <pc:chgData name="Matthias Scholer" userId="daad25a6-aca0-4d73-8528-03a468fe8ab9" providerId="ADAL" clId="{61F1D2C7-7A6C-4EA1-9543-00D7468A4E4D}" dt="2023-05-17T08:52:02.939" v="160" actId="2696"/>
        <pc:sldMkLst>
          <pc:docMk/>
          <pc:sldMk cId="3909939042" sldId="330"/>
        </pc:sldMkLst>
        <pc:spChg chg="mod">
          <ac:chgData name="Matthias Scholer" userId="daad25a6-aca0-4d73-8528-03a468fe8ab9" providerId="ADAL" clId="{61F1D2C7-7A6C-4EA1-9543-00D7468A4E4D}" dt="2023-05-08T13:38:13.301" v="27" actId="27636"/>
          <ac:spMkLst>
            <pc:docMk/>
            <pc:sldMk cId="3909939042" sldId="330"/>
            <ac:spMk id="2" creationId="{00000000-0000-0000-0000-000000000000}"/>
          </ac:spMkLst>
        </pc:spChg>
        <pc:spChg chg="mod">
          <ac:chgData name="Matthias Scholer" userId="daad25a6-aca0-4d73-8528-03a468fe8ab9" providerId="ADAL" clId="{61F1D2C7-7A6C-4EA1-9543-00D7468A4E4D}" dt="2023-05-08T13:38:12.953" v="0"/>
          <ac:spMkLst>
            <pc:docMk/>
            <pc:sldMk cId="3909939042" sldId="330"/>
            <ac:spMk id="5" creationId="{00000000-0000-0000-0000-000000000000}"/>
          </ac:spMkLst>
        </pc:spChg>
        <pc:spChg chg="mod">
          <ac:chgData name="Matthias Scholer" userId="daad25a6-aca0-4d73-8528-03a468fe8ab9" providerId="ADAL" clId="{61F1D2C7-7A6C-4EA1-9543-00D7468A4E4D}" dt="2023-05-08T13:38:12.953" v="0"/>
          <ac:spMkLst>
            <pc:docMk/>
            <pc:sldMk cId="3909939042" sldId="330"/>
            <ac:spMk id="6" creationId="{00000000-0000-0000-0000-000000000000}"/>
          </ac:spMkLst>
        </pc:spChg>
      </pc:sldChg>
      <pc:sldChg chg="modSp del mod">
        <pc:chgData name="Matthias Scholer" userId="daad25a6-aca0-4d73-8528-03a468fe8ab9" providerId="ADAL" clId="{61F1D2C7-7A6C-4EA1-9543-00D7468A4E4D}" dt="2023-05-17T08:52:02.939" v="160" actId="2696"/>
        <pc:sldMkLst>
          <pc:docMk/>
          <pc:sldMk cId="2565058572" sldId="331"/>
        </pc:sldMkLst>
        <pc:spChg chg="mod">
          <ac:chgData name="Matthias Scholer" userId="daad25a6-aca0-4d73-8528-03a468fe8ab9" providerId="ADAL" clId="{61F1D2C7-7A6C-4EA1-9543-00D7468A4E4D}" dt="2023-05-08T13:38:13.303" v="28" actId="27636"/>
          <ac:spMkLst>
            <pc:docMk/>
            <pc:sldMk cId="2565058572" sldId="331"/>
            <ac:spMk id="2" creationId="{00000000-0000-0000-0000-000000000000}"/>
          </ac:spMkLst>
        </pc:spChg>
        <pc:spChg chg="mod">
          <ac:chgData name="Matthias Scholer" userId="daad25a6-aca0-4d73-8528-03a468fe8ab9" providerId="ADAL" clId="{61F1D2C7-7A6C-4EA1-9543-00D7468A4E4D}" dt="2023-05-08T13:38:12.953" v="0"/>
          <ac:spMkLst>
            <pc:docMk/>
            <pc:sldMk cId="2565058572" sldId="331"/>
            <ac:spMk id="4" creationId="{00000000-0000-0000-0000-000000000000}"/>
          </ac:spMkLst>
        </pc:spChg>
        <pc:spChg chg="mod">
          <ac:chgData name="Matthias Scholer" userId="daad25a6-aca0-4d73-8528-03a468fe8ab9" providerId="ADAL" clId="{61F1D2C7-7A6C-4EA1-9543-00D7468A4E4D}" dt="2023-05-08T13:38:12.953" v="0"/>
          <ac:spMkLst>
            <pc:docMk/>
            <pc:sldMk cId="2565058572" sldId="331"/>
            <ac:spMk id="6" creationId="{00000000-0000-0000-0000-000000000000}"/>
          </ac:spMkLst>
        </pc:spChg>
      </pc:sldChg>
      <pc:sldChg chg="delSp modSp add mod">
        <pc:chgData name="Matthias Scholer" userId="daad25a6-aca0-4d73-8528-03a468fe8ab9" providerId="ADAL" clId="{61F1D2C7-7A6C-4EA1-9543-00D7468A4E4D}" dt="2023-05-17T12:11:23.869" v="226" actId="1076"/>
        <pc:sldMkLst>
          <pc:docMk/>
          <pc:sldMk cId="2866160750" sldId="331"/>
        </pc:sldMkLst>
        <pc:spChg chg="del">
          <ac:chgData name="Matthias Scholer" userId="daad25a6-aca0-4d73-8528-03a468fe8ab9" providerId="ADAL" clId="{61F1D2C7-7A6C-4EA1-9543-00D7468A4E4D}" dt="2023-05-17T12:10:56.792" v="225" actId="478"/>
          <ac:spMkLst>
            <pc:docMk/>
            <pc:sldMk cId="2866160750" sldId="331"/>
            <ac:spMk id="2" creationId="{00000000-0000-0000-0000-000000000000}"/>
          </ac:spMkLst>
        </pc:spChg>
        <pc:spChg chg="mod">
          <ac:chgData name="Matthias Scholer" userId="daad25a6-aca0-4d73-8528-03a468fe8ab9" providerId="ADAL" clId="{61F1D2C7-7A6C-4EA1-9543-00D7468A4E4D}" dt="2023-05-17T12:11:23.869" v="226" actId="1076"/>
          <ac:spMkLst>
            <pc:docMk/>
            <pc:sldMk cId="2866160750" sldId="331"/>
            <ac:spMk id="9" creationId="{00000000-0000-0000-0000-000000000000}"/>
          </ac:spMkLst>
        </pc:spChg>
        <pc:spChg chg="mod">
          <ac:chgData name="Matthias Scholer" userId="daad25a6-aca0-4d73-8528-03a468fe8ab9" providerId="ADAL" clId="{61F1D2C7-7A6C-4EA1-9543-00D7468A4E4D}" dt="2023-05-17T12:10:39.995" v="224" actId="27636"/>
          <ac:spMkLst>
            <pc:docMk/>
            <pc:sldMk cId="2866160750" sldId="331"/>
            <ac:spMk id="36866" creationId="{00000000-0000-0000-0000-000000000000}"/>
          </ac:spMkLst>
        </pc:spChg>
      </pc:sldChg>
      <pc:sldChg chg="modSp del mod">
        <pc:chgData name="Matthias Scholer" userId="daad25a6-aca0-4d73-8528-03a468fe8ab9" providerId="ADAL" clId="{61F1D2C7-7A6C-4EA1-9543-00D7468A4E4D}" dt="2023-05-17T08:52:02.939" v="160" actId="2696"/>
        <pc:sldMkLst>
          <pc:docMk/>
          <pc:sldMk cId="1014974595" sldId="332"/>
        </pc:sldMkLst>
        <pc:spChg chg="mod">
          <ac:chgData name="Matthias Scholer" userId="daad25a6-aca0-4d73-8528-03a468fe8ab9" providerId="ADAL" clId="{61F1D2C7-7A6C-4EA1-9543-00D7468A4E4D}" dt="2023-05-08T13:38:13.306" v="29" actId="27636"/>
          <ac:spMkLst>
            <pc:docMk/>
            <pc:sldMk cId="1014974595" sldId="332"/>
            <ac:spMk id="2" creationId="{00000000-0000-0000-0000-000000000000}"/>
          </ac:spMkLst>
        </pc:spChg>
        <pc:spChg chg="mod">
          <ac:chgData name="Matthias Scholer" userId="daad25a6-aca0-4d73-8528-03a468fe8ab9" providerId="ADAL" clId="{61F1D2C7-7A6C-4EA1-9543-00D7468A4E4D}" dt="2023-05-08T13:38:12.953" v="0"/>
          <ac:spMkLst>
            <pc:docMk/>
            <pc:sldMk cId="1014974595" sldId="332"/>
            <ac:spMk id="4" creationId="{00000000-0000-0000-0000-000000000000}"/>
          </ac:spMkLst>
        </pc:spChg>
        <pc:spChg chg="mod">
          <ac:chgData name="Matthias Scholer" userId="daad25a6-aca0-4d73-8528-03a468fe8ab9" providerId="ADAL" clId="{61F1D2C7-7A6C-4EA1-9543-00D7468A4E4D}" dt="2023-05-08T13:38:12.953" v="0"/>
          <ac:spMkLst>
            <pc:docMk/>
            <pc:sldMk cId="1014974595" sldId="332"/>
            <ac:spMk id="5" creationId="{00000000-0000-0000-0000-000000000000}"/>
          </ac:spMkLst>
        </pc:spChg>
      </pc:sldChg>
      <pc:sldChg chg="add">
        <pc:chgData name="Matthias Scholer" userId="daad25a6-aca0-4d73-8528-03a468fe8ab9" providerId="ADAL" clId="{61F1D2C7-7A6C-4EA1-9543-00D7468A4E4D}" dt="2023-05-22T08:00:42.995" v="260"/>
        <pc:sldMkLst>
          <pc:docMk/>
          <pc:sldMk cId="2531311644" sldId="332"/>
        </pc:sldMkLst>
      </pc:sldChg>
      <pc:sldChg chg="modSp del mod">
        <pc:chgData name="Matthias Scholer" userId="daad25a6-aca0-4d73-8528-03a468fe8ab9" providerId="ADAL" clId="{61F1D2C7-7A6C-4EA1-9543-00D7468A4E4D}" dt="2023-05-17T08:52:02.939" v="160" actId="2696"/>
        <pc:sldMkLst>
          <pc:docMk/>
          <pc:sldMk cId="2164133911" sldId="333"/>
        </pc:sldMkLst>
        <pc:spChg chg="mod">
          <ac:chgData name="Matthias Scholer" userId="daad25a6-aca0-4d73-8528-03a468fe8ab9" providerId="ADAL" clId="{61F1D2C7-7A6C-4EA1-9543-00D7468A4E4D}" dt="2023-05-08T13:38:13.320" v="30" actId="27636"/>
          <ac:spMkLst>
            <pc:docMk/>
            <pc:sldMk cId="2164133911" sldId="333"/>
            <ac:spMk id="2" creationId="{00000000-0000-0000-0000-000000000000}"/>
          </ac:spMkLst>
        </pc:spChg>
        <pc:spChg chg="mod">
          <ac:chgData name="Matthias Scholer" userId="daad25a6-aca0-4d73-8528-03a468fe8ab9" providerId="ADAL" clId="{61F1D2C7-7A6C-4EA1-9543-00D7468A4E4D}" dt="2023-05-08T13:38:12.953" v="0"/>
          <ac:spMkLst>
            <pc:docMk/>
            <pc:sldMk cId="2164133911" sldId="333"/>
            <ac:spMk id="4" creationId="{00000000-0000-0000-0000-000000000000}"/>
          </ac:spMkLst>
        </pc:spChg>
        <pc:spChg chg="mod">
          <ac:chgData name="Matthias Scholer" userId="daad25a6-aca0-4d73-8528-03a468fe8ab9" providerId="ADAL" clId="{61F1D2C7-7A6C-4EA1-9543-00D7468A4E4D}" dt="2023-05-08T13:38:12.953" v="0"/>
          <ac:spMkLst>
            <pc:docMk/>
            <pc:sldMk cId="2164133911" sldId="333"/>
            <ac:spMk id="5" creationId="{00000000-0000-0000-0000-000000000000}"/>
          </ac:spMkLst>
        </pc:spChg>
      </pc:sldChg>
      <pc:sldChg chg="add">
        <pc:chgData name="Matthias Scholer" userId="daad25a6-aca0-4d73-8528-03a468fe8ab9" providerId="ADAL" clId="{61F1D2C7-7A6C-4EA1-9543-00D7468A4E4D}" dt="2023-05-22T08:00:42.995" v="260"/>
        <pc:sldMkLst>
          <pc:docMk/>
          <pc:sldMk cId="2822144545" sldId="333"/>
        </pc:sldMkLst>
      </pc:sldChg>
      <pc:sldChg chg="modSp del mod">
        <pc:chgData name="Matthias Scholer" userId="daad25a6-aca0-4d73-8528-03a468fe8ab9" providerId="ADAL" clId="{61F1D2C7-7A6C-4EA1-9543-00D7468A4E4D}" dt="2023-05-17T08:52:02.939" v="160" actId="2696"/>
        <pc:sldMkLst>
          <pc:docMk/>
          <pc:sldMk cId="2863057392" sldId="335"/>
        </pc:sldMkLst>
        <pc:spChg chg="mod">
          <ac:chgData name="Matthias Scholer" userId="daad25a6-aca0-4d73-8528-03a468fe8ab9" providerId="ADAL" clId="{61F1D2C7-7A6C-4EA1-9543-00D7468A4E4D}" dt="2023-05-08T13:38:13.353" v="34" actId="27636"/>
          <ac:spMkLst>
            <pc:docMk/>
            <pc:sldMk cId="2863057392" sldId="335"/>
            <ac:spMk id="2" creationId="{00000000-0000-0000-0000-000000000000}"/>
          </ac:spMkLst>
        </pc:spChg>
        <pc:spChg chg="mod">
          <ac:chgData name="Matthias Scholer" userId="daad25a6-aca0-4d73-8528-03a468fe8ab9" providerId="ADAL" clId="{61F1D2C7-7A6C-4EA1-9543-00D7468A4E4D}" dt="2023-05-08T13:38:12.953" v="0"/>
          <ac:spMkLst>
            <pc:docMk/>
            <pc:sldMk cId="2863057392" sldId="335"/>
            <ac:spMk id="5" creationId="{00000000-0000-0000-0000-000000000000}"/>
          </ac:spMkLst>
        </pc:spChg>
        <pc:spChg chg="mod">
          <ac:chgData name="Matthias Scholer" userId="daad25a6-aca0-4d73-8528-03a468fe8ab9" providerId="ADAL" clId="{61F1D2C7-7A6C-4EA1-9543-00D7468A4E4D}" dt="2023-05-08T13:38:12.953" v="0"/>
          <ac:spMkLst>
            <pc:docMk/>
            <pc:sldMk cId="2863057392" sldId="335"/>
            <ac:spMk id="7" creationId="{00000000-0000-0000-0000-000000000000}"/>
          </ac:spMkLst>
        </pc:spChg>
      </pc:sldChg>
      <pc:sldChg chg="add">
        <pc:chgData name="Matthias Scholer" userId="daad25a6-aca0-4d73-8528-03a468fe8ab9" providerId="ADAL" clId="{61F1D2C7-7A6C-4EA1-9543-00D7468A4E4D}" dt="2023-05-22T08:00:42.995" v="260"/>
        <pc:sldMkLst>
          <pc:docMk/>
          <pc:sldMk cId="274054747" sldId="336"/>
        </pc:sldMkLst>
      </pc:sldChg>
      <pc:sldChg chg="modSp del mod">
        <pc:chgData name="Matthias Scholer" userId="daad25a6-aca0-4d73-8528-03a468fe8ab9" providerId="ADAL" clId="{61F1D2C7-7A6C-4EA1-9543-00D7468A4E4D}" dt="2023-05-17T08:52:02.939" v="160" actId="2696"/>
        <pc:sldMkLst>
          <pc:docMk/>
          <pc:sldMk cId="1359175679" sldId="336"/>
        </pc:sldMkLst>
        <pc:spChg chg="mod">
          <ac:chgData name="Matthias Scholer" userId="daad25a6-aca0-4d73-8528-03a468fe8ab9" providerId="ADAL" clId="{61F1D2C7-7A6C-4EA1-9543-00D7468A4E4D}" dt="2023-05-08T13:38:13.369" v="36" actId="27636"/>
          <ac:spMkLst>
            <pc:docMk/>
            <pc:sldMk cId="1359175679" sldId="336"/>
            <ac:spMk id="2" creationId="{00000000-0000-0000-0000-000000000000}"/>
          </ac:spMkLst>
        </pc:spChg>
        <pc:spChg chg="mod">
          <ac:chgData name="Matthias Scholer" userId="daad25a6-aca0-4d73-8528-03a468fe8ab9" providerId="ADAL" clId="{61F1D2C7-7A6C-4EA1-9543-00D7468A4E4D}" dt="2023-05-08T13:38:12.953" v="0"/>
          <ac:spMkLst>
            <pc:docMk/>
            <pc:sldMk cId="1359175679" sldId="336"/>
            <ac:spMk id="4" creationId="{00000000-0000-0000-0000-000000000000}"/>
          </ac:spMkLst>
        </pc:spChg>
        <pc:spChg chg="mod">
          <ac:chgData name="Matthias Scholer" userId="daad25a6-aca0-4d73-8528-03a468fe8ab9" providerId="ADAL" clId="{61F1D2C7-7A6C-4EA1-9543-00D7468A4E4D}" dt="2023-05-08T13:38:12.953" v="0"/>
          <ac:spMkLst>
            <pc:docMk/>
            <pc:sldMk cId="1359175679" sldId="336"/>
            <ac:spMk id="5" creationId="{00000000-0000-0000-0000-000000000000}"/>
          </ac:spMkLst>
        </pc:spChg>
      </pc:sldChg>
      <pc:sldChg chg="add">
        <pc:chgData name="Matthias Scholer" userId="daad25a6-aca0-4d73-8528-03a468fe8ab9" providerId="ADAL" clId="{61F1D2C7-7A6C-4EA1-9543-00D7468A4E4D}" dt="2023-05-22T08:00:42.995" v="260"/>
        <pc:sldMkLst>
          <pc:docMk/>
          <pc:sldMk cId="2331414369" sldId="337"/>
        </pc:sldMkLst>
      </pc:sldChg>
      <pc:sldChg chg="modSp del mod">
        <pc:chgData name="Matthias Scholer" userId="daad25a6-aca0-4d73-8528-03a468fe8ab9" providerId="ADAL" clId="{61F1D2C7-7A6C-4EA1-9543-00D7468A4E4D}" dt="2023-05-17T08:52:02.939" v="160" actId="2696"/>
        <pc:sldMkLst>
          <pc:docMk/>
          <pc:sldMk cId="3057473306" sldId="337"/>
        </pc:sldMkLst>
        <pc:spChg chg="mod">
          <ac:chgData name="Matthias Scholer" userId="daad25a6-aca0-4d73-8528-03a468fe8ab9" providerId="ADAL" clId="{61F1D2C7-7A6C-4EA1-9543-00D7468A4E4D}" dt="2023-05-08T13:44:06.320" v="143" actId="948"/>
          <ac:spMkLst>
            <pc:docMk/>
            <pc:sldMk cId="3057473306" sldId="337"/>
            <ac:spMk id="2" creationId="{00000000-0000-0000-0000-000000000000}"/>
          </ac:spMkLst>
        </pc:spChg>
        <pc:spChg chg="mod">
          <ac:chgData name="Matthias Scholer" userId="daad25a6-aca0-4d73-8528-03a468fe8ab9" providerId="ADAL" clId="{61F1D2C7-7A6C-4EA1-9543-00D7468A4E4D}" dt="2023-05-08T13:38:12.953" v="0"/>
          <ac:spMkLst>
            <pc:docMk/>
            <pc:sldMk cId="3057473306" sldId="337"/>
            <ac:spMk id="5" creationId="{00000000-0000-0000-0000-000000000000}"/>
          </ac:spMkLst>
        </pc:spChg>
        <pc:spChg chg="mod">
          <ac:chgData name="Matthias Scholer" userId="daad25a6-aca0-4d73-8528-03a468fe8ab9" providerId="ADAL" clId="{61F1D2C7-7A6C-4EA1-9543-00D7468A4E4D}" dt="2023-05-08T13:38:12.953" v="0"/>
          <ac:spMkLst>
            <pc:docMk/>
            <pc:sldMk cId="3057473306" sldId="337"/>
            <ac:spMk id="6" creationId="{00000000-0000-0000-0000-000000000000}"/>
          </ac:spMkLst>
        </pc:spChg>
        <pc:spChg chg="mod">
          <ac:chgData name="Matthias Scholer" userId="daad25a6-aca0-4d73-8528-03a468fe8ab9" providerId="ADAL" clId="{61F1D2C7-7A6C-4EA1-9543-00D7468A4E4D}" dt="2023-05-08T13:44:09.504" v="144" actId="1076"/>
          <ac:spMkLst>
            <pc:docMk/>
            <pc:sldMk cId="3057473306" sldId="337"/>
            <ac:spMk id="7" creationId="{00000000-0000-0000-0000-000000000000}"/>
          </ac:spMkLst>
        </pc:spChg>
      </pc:sldChg>
      <pc:sldChg chg="add">
        <pc:chgData name="Matthias Scholer" userId="daad25a6-aca0-4d73-8528-03a468fe8ab9" providerId="ADAL" clId="{61F1D2C7-7A6C-4EA1-9543-00D7468A4E4D}" dt="2023-05-22T08:00:42.995" v="260"/>
        <pc:sldMkLst>
          <pc:docMk/>
          <pc:sldMk cId="2641351038" sldId="338"/>
        </pc:sldMkLst>
      </pc:sldChg>
      <pc:sldChg chg="modSp del mod">
        <pc:chgData name="Matthias Scholer" userId="daad25a6-aca0-4d73-8528-03a468fe8ab9" providerId="ADAL" clId="{61F1D2C7-7A6C-4EA1-9543-00D7468A4E4D}" dt="2023-05-17T08:52:02.939" v="160" actId="2696"/>
        <pc:sldMkLst>
          <pc:docMk/>
          <pc:sldMk cId="1452650608" sldId="339"/>
        </pc:sldMkLst>
        <pc:spChg chg="mod">
          <ac:chgData name="Matthias Scholer" userId="daad25a6-aca0-4d73-8528-03a468fe8ab9" providerId="ADAL" clId="{61F1D2C7-7A6C-4EA1-9543-00D7468A4E4D}" dt="2023-05-08T13:38:13.356" v="35" actId="27636"/>
          <ac:spMkLst>
            <pc:docMk/>
            <pc:sldMk cId="1452650608" sldId="339"/>
            <ac:spMk id="2" creationId="{00000000-0000-0000-0000-000000000000}"/>
          </ac:spMkLst>
        </pc:spChg>
        <pc:spChg chg="mod">
          <ac:chgData name="Matthias Scholer" userId="daad25a6-aca0-4d73-8528-03a468fe8ab9" providerId="ADAL" clId="{61F1D2C7-7A6C-4EA1-9543-00D7468A4E4D}" dt="2023-05-08T13:38:12.953" v="0"/>
          <ac:spMkLst>
            <pc:docMk/>
            <pc:sldMk cId="1452650608" sldId="339"/>
            <ac:spMk id="3" creationId="{00000000-0000-0000-0000-000000000000}"/>
          </ac:spMkLst>
        </pc:spChg>
        <pc:spChg chg="mod">
          <ac:chgData name="Matthias Scholer" userId="daad25a6-aca0-4d73-8528-03a468fe8ab9" providerId="ADAL" clId="{61F1D2C7-7A6C-4EA1-9543-00D7468A4E4D}" dt="2023-05-08T13:38:12.953" v="0"/>
          <ac:spMkLst>
            <pc:docMk/>
            <pc:sldMk cId="1452650608" sldId="339"/>
            <ac:spMk id="4" creationId="{00000000-0000-0000-0000-000000000000}"/>
          </ac:spMkLst>
        </pc:spChg>
        <pc:picChg chg="mod">
          <ac:chgData name="Matthias Scholer" userId="daad25a6-aca0-4d73-8528-03a468fe8ab9" providerId="ADAL" clId="{61F1D2C7-7A6C-4EA1-9543-00D7468A4E4D}" dt="2023-05-08T13:38:12.953" v="0"/>
          <ac:picMkLst>
            <pc:docMk/>
            <pc:sldMk cId="1452650608" sldId="339"/>
            <ac:picMk id="5" creationId="{00000000-0000-0000-0000-000000000000}"/>
          </ac:picMkLst>
        </pc:picChg>
      </pc:sldChg>
      <pc:sldChg chg="add">
        <pc:chgData name="Matthias Scholer" userId="daad25a6-aca0-4d73-8528-03a468fe8ab9" providerId="ADAL" clId="{61F1D2C7-7A6C-4EA1-9543-00D7468A4E4D}" dt="2023-05-22T08:00:42.995" v="260"/>
        <pc:sldMkLst>
          <pc:docMk/>
          <pc:sldMk cId="1688502360" sldId="339"/>
        </pc:sldMkLst>
      </pc:sldChg>
      <pc:sldChg chg="modSp del mod">
        <pc:chgData name="Matthias Scholer" userId="daad25a6-aca0-4d73-8528-03a468fe8ab9" providerId="ADAL" clId="{61F1D2C7-7A6C-4EA1-9543-00D7468A4E4D}" dt="2023-05-17T08:52:02.939" v="160" actId="2696"/>
        <pc:sldMkLst>
          <pc:docMk/>
          <pc:sldMk cId="1152566637" sldId="340"/>
        </pc:sldMkLst>
        <pc:spChg chg="mod">
          <ac:chgData name="Matthias Scholer" userId="daad25a6-aca0-4d73-8528-03a468fe8ab9" providerId="ADAL" clId="{61F1D2C7-7A6C-4EA1-9543-00D7468A4E4D}" dt="2023-05-08T13:38:13.372" v="37" actId="27636"/>
          <ac:spMkLst>
            <pc:docMk/>
            <pc:sldMk cId="1152566637" sldId="340"/>
            <ac:spMk id="2" creationId="{00000000-0000-0000-0000-000000000000}"/>
          </ac:spMkLst>
        </pc:spChg>
        <pc:spChg chg="mod">
          <ac:chgData name="Matthias Scholer" userId="daad25a6-aca0-4d73-8528-03a468fe8ab9" providerId="ADAL" clId="{61F1D2C7-7A6C-4EA1-9543-00D7468A4E4D}" dt="2023-05-08T13:38:12.953" v="0"/>
          <ac:spMkLst>
            <pc:docMk/>
            <pc:sldMk cId="1152566637" sldId="340"/>
            <ac:spMk id="4" creationId="{00000000-0000-0000-0000-000000000000}"/>
          </ac:spMkLst>
        </pc:spChg>
        <pc:spChg chg="mod">
          <ac:chgData name="Matthias Scholer" userId="daad25a6-aca0-4d73-8528-03a468fe8ab9" providerId="ADAL" clId="{61F1D2C7-7A6C-4EA1-9543-00D7468A4E4D}" dt="2023-05-08T13:38:12.953" v="0"/>
          <ac:spMkLst>
            <pc:docMk/>
            <pc:sldMk cId="1152566637" sldId="340"/>
            <ac:spMk id="6" creationId="{00000000-0000-0000-0000-000000000000}"/>
          </ac:spMkLst>
        </pc:spChg>
      </pc:sldChg>
      <pc:sldChg chg="modSp mod">
        <pc:chgData name="Matthias Scholer" userId="daad25a6-aca0-4d73-8528-03a468fe8ab9" providerId="ADAL" clId="{61F1D2C7-7A6C-4EA1-9543-00D7468A4E4D}" dt="2023-05-08T13:40:42.444" v="78" actId="1036"/>
        <pc:sldMkLst>
          <pc:docMk/>
          <pc:sldMk cId="2034376898" sldId="341"/>
        </pc:sldMkLst>
        <pc:spChg chg="mod">
          <ac:chgData name="Matthias Scholer" userId="daad25a6-aca0-4d73-8528-03a468fe8ab9" providerId="ADAL" clId="{61F1D2C7-7A6C-4EA1-9543-00D7468A4E4D}" dt="2023-05-08T13:38:13.123" v="5" actId="27636"/>
          <ac:spMkLst>
            <pc:docMk/>
            <pc:sldMk cId="2034376898" sldId="341"/>
            <ac:spMk id="2" creationId="{00000000-0000-0000-0000-000000000000}"/>
          </ac:spMkLst>
        </pc:spChg>
        <pc:spChg chg="mod">
          <ac:chgData name="Matthias Scholer" userId="daad25a6-aca0-4d73-8528-03a468fe8ab9" providerId="ADAL" clId="{61F1D2C7-7A6C-4EA1-9543-00D7468A4E4D}" dt="2023-05-08T13:40:42.444" v="78" actId="1036"/>
          <ac:spMkLst>
            <pc:docMk/>
            <pc:sldMk cId="2034376898" sldId="341"/>
            <ac:spMk id="4" creationId="{00000000-0000-0000-0000-000000000000}"/>
          </ac:spMkLst>
        </pc:spChg>
        <pc:spChg chg="mod">
          <ac:chgData name="Matthias Scholer" userId="daad25a6-aca0-4d73-8528-03a468fe8ab9" providerId="ADAL" clId="{61F1D2C7-7A6C-4EA1-9543-00D7468A4E4D}" dt="2023-05-08T13:38:12.953" v="0"/>
          <ac:spMkLst>
            <pc:docMk/>
            <pc:sldMk cId="2034376898" sldId="341"/>
            <ac:spMk id="7" creationId="{00000000-0000-0000-0000-000000000000}"/>
          </ac:spMkLst>
        </pc:spChg>
        <pc:spChg chg="mod">
          <ac:chgData name="Matthias Scholer" userId="daad25a6-aca0-4d73-8528-03a468fe8ab9" providerId="ADAL" clId="{61F1D2C7-7A6C-4EA1-9543-00D7468A4E4D}" dt="2023-05-08T13:40:41.826" v="77" actId="1076"/>
          <ac:spMkLst>
            <pc:docMk/>
            <pc:sldMk cId="2034376898" sldId="341"/>
            <ac:spMk id="10" creationId="{00000000-0000-0000-0000-000000000000}"/>
          </ac:spMkLst>
        </pc:spChg>
        <pc:spChg chg="mod">
          <ac:chgData name="Matthias Scholer" userId="daad25a6-aca0-4d73-8528-03a468fe8ab9" providerId="ADAL" clId="{61F1D2C7-7A6C-4EA1-9543-00D7468A4E4D}" dt="2023-05-08T13:40:37.949" v="76" actId="1076"/>
          <ac:spMkLst>
            <pc:docMk/>
            <pc:sldMk cId="2034376898" sldId="341"/>
            <ac:spMk id="16" creationId="{00000000-0000-0000-0000-000000000000}"/>
          </ac:spMkLst>
        </pc:spChg>
        <pc:spChg chg="mod">
          <ac:chgData name="Matthias Scholer" userId="daad25a6-aca0-4d73-8528-03a468fe8ab9" providerId="ADAL" clId="{61F1D2C7-7A6C-4EA1-9543-00D7468A4E4D}" dt="2023-05-08T13:40:34.124" v="75" actId="1076"/>
          <ac:spMkLst>
            <pc:docMk/>
            <pc:sldMk cId="2034376898" sldId="341"/>
            <ac:spMk id="18" creationId="{00000000-0000-0000-0000-000000000000}"/>
          </ac:spMkLst>
        </pc:spChg>
      </pc:sldChg>
      <pc:sldChg chg="add">
        <pc:chgData name="Matthias Scholer" userId="daad25a6-aca0-4d73-8528-03a468fe8ab9" providerId="ADAL" clId="{61F1D2C7-7A6C-4EA1-9543-00D7468A4E4D}" dt="2023-05-22T08:01:12.028" v="262"/>
        <pc:sldMkLst>
          <pc:docMk/>
          <pc:sldMk cId="2248754006" sldId="342"/>
        </pc:sldMkLst>
      </pc:sldChg>
      <pc:sldChg chg="add">
        <pc:chgData name="Matthias Scholer" userId="daad25a6-aca0-4d73-8528-03a468fe8ab9" providerId="ADAL" clId="{61F1D2C7-7A6C-4EA1-9543-00D7468A4E4D}" dt="2023-05-22T08:01:26.592" v="263"/>
        <pc:sldMkLst>
          <pc:docMk/>
          <pc:sldMk cId="2653858341" sldId="343"/>
        </pc:sldMkLst>
      </pc:sldChg>
      <pc:sldChg chg="modSp del mod">
        <pc:chgData name="Matthias Scholer" userId="daad25a6-aca0-4d73-8528-03a468fe8ab9" providerId="ADAL" clId="{61F1D2C7-7A6C-4EA1-9543-00D7468A4E4D}" dt="2023-05-17T08:52:02.939" v="160" actId="2696"/>
        <pc:sldMkLst>
          <pc:docMk/>
          <pc:sldMk cId="230569912" sldId="344"/>
        </pc:sldMkLst>
        <pc:spChg chg="mod">
          <ac:chgData name="Matthias Scholer" userId="daad25a6-aca0-4d73-8528-03a468fe8ab9" providerId="ADAL" clId="{61F1D2C7-7A6C-4EA1-9543-00D7468A4E4D}" dt="2023-05-08T13:38:13.382" v="38" actId="27636"/>
          <ac:spMkLst>
            <pc:docMk/>
            <pc:sldMk cId="230569912" sldId="344"/>
            <ac:spMk id="2" creationId="{00000000-0000-0000-0000-000000000000}"/>
          </ac:spMkLst>
        </pc:spChg>
        <pc:spChg chg="mod">
          <ac:chgData name="Matthias Scholer" userId="daad25a6-aca0-4d73-8528-03a468fe8ab9" providerId="ADAL" clId="{61F1D2C7-7A6C-4EA1-9543-00D7468A4E4D}" dt="2023-05-08T13:38:12.953" v="0"/>
          <ac:spMkLst>
            <pc:docMk/>
            <pc:sldMk cId="230569912" sldId="344"/>
            <ac:spMk id="5" creationId="{00000000-0000-0000-0000-000000000000}"/>
          </ac:spMkLst>
        </pc:spChg>
        <pc:spChg chg="mod">
          <ac:chgData name="Matthias Scholer" userId="daad25a6-aca0-4d73-8528-03a468fe8ab9" providerId="ADAL" clId="{61F1D2C7-7A6C-4EA1-9543-00D7468A4E4D}" dt="2023-05-08T13:38:12.953" v="0"/>
          <ac:spMkLst>
            <pc:docMk/>
            <pc:sldMk cId="230569912" sldId="344"/>
            <ac:spMk id="6" creationId="{00000000-0000-0000-0000-000000000000}"/>
          </ac:spMkLst>
        </pc:spChg>
      </pc:sldChg>
      <pc:sldChg chg="add">
        <pc:chgData name="Matthias Scholer" userId="daad25a6-aca0-4d73-8528-03a468fe8ab9" providerId="ADAL" clId="{61F1D2C7-7A6C-4EA1-9543-00D7468A4E4D}" dt="2023-05-22T08:01:26.592" v="263"/>
        <pc:sldMkLst>
          <pc:docMk/>
          <pc:sldMk cId="1261633461" sldId="344"/>
        </pc:sldMkLst>
      </pc:sldChg>
      <pc:sldChg chg="modSp mod">
        <pc:chgData name="Matthias Scholer" userId="daad25a6-aca0-4d73-8528-03a468fe8ab9" providerId="ADAL" clId="{61F1D2C7-7A6C-4EA1-9543-00D7468A4E4D}" dt="2023-05-08T13:40:52.124" v="95" actId="14100"/>
        <pc:sldMkLst>
          <pc:docMk/>
          <pc:sldMk cId="3966254486" sldId="345"/>
        </pc:sldMkLst>
        <pc:spChg chg="mod">
          <ac:chgData name="Matthias Scholer" userId="daad25a6-aca0-4d73-8528-03a468fe8ab9" providerId="ADAL" clId="{61F1D2C7-7A6C-4EA1-9543-00D7468A4E4D}" dt="2023-05-08T13:40:52.124" v="95" actId="14100"/>
          <ac:spMkLst>
            <pc:docMk/>
            <pc:sldMk cId="3966254486" sldId="345"/>
            <ac:spMk id="2" creationId="{00000000-0000-0000-0000-000000000000}"/>
          </ac:spMkLst>
        </pc:spChg>
        <pc:spChg chg="mod">
          <ac:chgData name="Matthias Scholer" userId="daad25a6-aca0-4d73-8528-03a468fe8ab9" providerId="ADAL" clId="{61F1D2C7-7A6C-4EA1-9543-00D7468A4E4D}" dt="2023-05-08T13:38:12.953" v="0"/>
          <ac:spMkLst>
            <pc:docMk/>
            <pc:sldMk cId="3966254486" sldId="345"/>
            <ac:spMk id="4" creationId="{00000000-0000-0000-0000-000000000000}"/>
          </ac:spMkLst>
        </pc:spChg>
        <pc:spChg chg="mod">
          <ac:chgData name="Matthias Scholer" userId="daad25a6-aca0-4d73-8528-03a468fe8ab9" providerId="ADAL" clId="{61F1D2C7-7A6C-4EA1-9543-00D7468A4E4D}" dt="2023-05-08T13:38:12.953" v="0"/>
          <ac:spMkLst>
            <pc:docMk/>
            <pc:sldMk cId="3966254486" sldId="345"/>
            <ac:spMk id="5"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25"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26"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27"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28"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29"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30"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31" creationId="{00000000-0000-0000-0000-000000000000}"/>
          </ac:spMkLst>
        </pc:spChg>
        <pc:spChg chg="mod">
          <ac:chgData name="Matthias Scholer" userId="daad25a6-aca0-4d73-8528-03a468fe8ab9" providerId="ADAL" clId="{61F1D2C7-7A6C-4EA1-9543-00D7468A4E4D}" dt="2023-05-08T13:40:48.239" v="94" actId="1036"/>
          <ac:spMkLst>
            <pc:docMk/>
            <pc:sldMk cId="3966254486" sldId="345"/>
            <ac:spMk id="32" creationId="{00000000-0000-0000-0000-000000000000}"/>
          </ac:spMkLst>
        </pc:spChg>
        <pc:grpChg chg="mod">
          <ac:chgData name="Matthias Scholer" userId="daad25a6-aca0-4d73-8528-03a468fe8ab9" providerId="ADAL" clId="{61F1D2C7-7A6C-4EA1-9543-00D7468A4E4D}" dt="2023-05-08T13:40:48.239" v="94" actId="1036"/>
          <ac:grpSpMkLst>
            <pc:docMk/>
            <pc:sldMk cId="3966254486" sldId="345"/>
            <ac:grpSpMk id="10" creationId="{00000000-0000-0000-0000-000000000000}"/>
          </ac:grpSpMkLst>
        </pc:grpChg>
      </pc:sldChg>
      <pc:sldChg chg="modSp mod">
        <pc:chgData name="Matthias Scholer" userId="daad25a6-aca0-4d73-8528-03a468fe8ab9" providerId="ADAL" clId="{61F1D2C7-7A6C-4EA1-9543-00D7468A4E4D}" dt="2023-05-08T13:42:59.590" v="123" actId="948"/>
        <pc:sldMkLst>
          <pc:docMk/>
          <pc:sldMk cId="2225272155" sldId="346"/>
        </pc:sldMkLst>
        <pc:spChg chg="mod">
          <ac:chgData name="Matthias Scholer" userId="daad25a6-aca0-4d73-8528-03a468fe8ab9" providerId="ADAL" clId="{61F1D2C7-7A6C-4EA1-9543-00D7468A4E4D}" dt="2023-05-08T13:38:12.953" v="0"/>
          <ac:spMkLst>
            <pc:docMk/>
            <pc:sldMk cId="2225272155" sldId="346"/>
            <ac:spMk id="3" creationId="{00000000-0000-0000-0000-000000000000}"/>
          </ac:spMkLst>
        </pc:spChg>
        <pc:spChg chg="mod">
          <ac:chgData name="Matthias Scholer" userId="daad25a6-aca0-4d73-8528-03a468fe8ab9" providerId="ADAL" clId="{61F1D2C7-7A6C-4EA1-9543-00D7468A4E4D}" dt="2023-05-08T13:38:12.953" v="0"/>
          <ac:spMkLst>
            <pc:docMk/>
            <pc:sldMk cId="2225272155" sldId="346"/>
            <ac:spMk id="4" creationId="{00000000-0000-0000-0000-000000000000}"/>
          </ac:spMkLst>
        </pc:spChg>
        <pc:spChg chg="mod">
          <ac:chgData name="Matthias Scholer" userId="daad25a6-aca0-4d73-8528-03a468fe8ab9" providerId="ADAL" clId="{61F1D2C7-7A6C-4EA1-9543-00D7468A4E4D}" dt="2023-05-08T13:42:59.590" v="123" actId="948"/>
          <ac:spMkLst>
            <pc:docMk/>
            <pc:sldMk cId="2225272155" sldId="346"/>
            <ac:spMk id="72707" creationId="{00000000-0000-0000-0000-000000000000}"/>
          </ac:spMkLst>
        </pc:spChg>
      </pc:sldChg>
      <pc:sldChg chg="modSp mod">
        <pc:chgData name="Matthias Scholer" userId="daad25a6-aca0-4d73-8528-03a468fe8ab9" providerId="ADAL" clId="{61F1D2C7-7A6C-4EA1-9543-00D7468A4E4D}" dt="2023-05-08T13:42:51.082" v="122" actId="14100"/>
        <pc:sldMkLst>
          <pc:docMk/>
          <pc:sldMk cId="3305920628" sldId="347"/>
        </pc:sldMkLst>
        <pc:spChg chg="mod">
          <ac:chgData name="Matthias Scholer" userId="daad25a6-aca0-4d73-8528-03a468fe8ab9" providerId="ADAL" clId="{61F1D2C7-7A6C-4EA1-9543-00D7468A4E4D}" dt="2023-05-08T13:42:51.082" v="122" actId="14100"/>
          <ac:spMkLst>
            <pc:docMk/>
            <pc:sldMk cId="3305920628" sldId="347"/>
            <ac:spMk id="2" creationId="{00000000-0000-0000-0000-000000000000}"/>
          </ac:spMkLst>
        </pc:spChg>
        <pc:spChg chg="mod">
          <ac:chgData name="Matthias Scholer" userId="daad25a6-aca0-4d73-8528-03a468fe8ab9" providerId="ADAL" clId="{61F1D2C7-7A6C-4EA1-9543-00D7468A4E4D}" dt="2023-05-08T13:38:12.953" v="0"/>
          <ac:spMkLst>
            <pc:docMk/>
            <pc:sldMk cId="3305920628" sldId="347"/>
            <ac:spMk id="4" creationId="{00000000-0000-0000-0000-000000000000}"/>
          </ac:spMkLst>
        </pc:spChg>
        <pc:spChg chg="mod">
          <ac:chgData name="Matthias Scholer" userId="daad25a6-aca0-4d73-8528-03a468fe8ab9" providerId="ADAL" clId="{61F1D2C7-7A6C-4EA1-9543-00D7468A4E4D}" dt="2023-05-08T13:38:12.953" v="0"/>
          <ac:spMkLst>
            <pc:docMk/>
            <pc:sldMk cId="3305920628" sldId="347"/>
            <ac:spMk id="5" creationId="{00000000-0000-0000-0000-000000000000}"/>
          </ac:spMkLst>
        </pc:spChg>
      </pc:sldChg>
      <pc:sldChg chg="modSp mod">
        <pc:chgData name="Matthias Scholer" userId="daad25a6-aca0-4d73-8528-03a468fe8ab9" providerId="ADAL" clId="{61F1D2C7-7A6C-4EA1-9543-00D7468A4E4D}" dt="2023-05-08T13:38:13.239" v="20" actId="27636"/>
        <pc:sldMkLst>
          <pc:docMk/>
          <pc:sldMk cId="3594570469" sldId="348"/>
        </pc:sldMkLst>
        <pc:spChg chg="mod">
          <ac:chgData name="Matthias Scholer" userId="daad25a6-aca0-4d73-8528-03a468fe8ab9" providerId="ADAL" clId="{61F1D2C7-7A6C-4EA1-9543-00D7468A4E4D}" dt="2023-05-08T13:38:13.239" v="20" actId="27636"/>
          <ac:spMkLst>
            <pc:docMk/>
            <pc:sldMk cId="3594570469" sldId="348"/>
            <ac:spMk id="2" creationId="{00000000-0000-0000-0000-000000000000}"/>
          </ac:spMkLst>
        </pc:spChg>
        <pc:spChg chg="mod">
          <ac:chgData name="Matthias Scholer" userId="daad25a6-aca0-4d73-8528-03a468fe8ab9" providerId="ADAL" clId="{61F1D2C7-7A6C-4EA1-9543-00D7468A4E4D}" dt="2023-05-08T13:38:12.953" v="0"/>
          <ac:spMkLst>
            <pc:docMk/>
            <pc:sldMk cId="3594570469" sldId="348"/>
            <ac:spMk id="17" creationId="{00000000-0000-0000-0000-000000000000}"/>
          </ac:spMkLst>
        </pc:spChg>
        <pc:spChg chg="mod">
          <ac:chgData name="Matthias Scholer" userId="daad25a6-aca0-4d73-8528-03a468fe8ab9" providerId="ADAL" clId="{61F1D2C7-7A6C-4EA1-9543-00D7468A4E4D}" dt="2023-05-08T13:38:12.953" v="0"/>
          <ac:spMkLst>
            <pc:docMk/>
            <pc:sldMk cId="3594570469" sldId="348"/>
            <ac:spMk id="18" creationId="{00000000-0000-0000-0000-000000000000}"/>
          </ac:spMkLst>
        </pc:spChg>
      </pc:sldChg>
      <pc:sldChg chg="modSp del mod">
        <pc:chgData name="Matthias Scholer" userId="daad25a6-aca0-4d73-8528-03a468fe8ab9" providerId="ADAL" clId="{61F1D2C7-7A6C-4EA1-9543-00D7468A4E4D}" dt="2023-05-17T08:52:02.939" v="160" actId="2696"/>
        <pc:sldMkLst>
          <pc:docMk/>
          <pc:sldMk cId="427561973" sldId="349"/>
        </pc:sldMkLst>
        <pc:spChg chg="mod">
          <ac:chgData name="Matthias Scholer" userId="daad25a6-aca0-4d73-8528-03a468fe8ab9" providerId="ADAL" clId="{61F1D2C7-7A6C-4EA1-9543-00D7468A4E4D}" dt="2023-05-08T13:44:26.354" v="147" actId="14100"/>
          <ac:spMkLst>
            <pc:docMk/>
            <pc:sldMk cId="427561973" sldId="349"/>
            <ac:spMk id="2" creationId="{00000000-0000-0000-0000-000000000000}"/>
          </ac:spMkLst>
        </pc:spChg>
        <pc:spChg chg="mod">
          <ac:chgData name="Matthias Scholer" userId="daad25a6-aca0-4d73-8528-03a468fe8ab9" providerId="ADAL" clId="{61F1D2C7-7A6C-4EA1-9543-00D7468A4E4D}" dt="2023-05-08T13:38:12.953" v="0"/>
          <ac:spMkLst>
            <pc:docMk/>
            <pc:sldMk cId="427561973" sldId="349"/>
            <ac:spMk id="6" creationId="{00000000-0000-0000-0000-000000000000}"/>
          </ac:spMkLst>
        </pc:spChg>
        <pc:spChg chg="mod">
          <ac:chgData name="Matthias Scholer" userId="daad25a6-aca0-4d73-8528-03a468fe8ab9" providerId="ADAL" clId="{61F1D2C7-7A6C-4EA1-9543-00D7468A4E4D}" dt="2023-05-08T13:38:12.953" v="0"/>
          <ac:spMkLst>
            <pc:docMk/>
            <pc:sldMk cId="427561973" sldId="349"/>
            <ac:spMk id="7" creationId="{00000000-0000-0000-0000-000000000000}"/>
          </ac:spMkLst>
        </pc:spChg>
      </pc:sldChg>
      <pc:sldChg chg="add">
        <pc:chgData name="Matthias Scholer" userId="daad25a6-aca0-4d73-8528-03a468fe8ab9" providerId="ADAL" clId="{61F1D2C7-7A6C-4EA1-9543-00D7468A4E4D}" dt="2023-05-22T07:59:48.610" v="259"/>
        <pc:sldMkLst>
          <pc:docMk/>
          <pc:sldMk cId="2098861641" sldId="350"/>
        </pc:sldMkLst>
      </pc:sldChg>
      <pc:sldChg chg="modSp del">
        <pc:chgData name="Matthias Scholer" userId="daad25a6-aca0-4d73-8528-03a468fe8ab9" providerId="ADAL" clId="{61F1D2C7-7A6C-4EA1-9543-00D7468A4E4D}" dt="2023-05-08T13:38:49.774" v="42" actId="47"/>
        <pc:sldMkLst>
          <pc:docMk/>
          <pc:sldMk cId="2678372365" sldId="350"/>
        </pc:sldMkLst>
        <pc:spChg chg="mod">
          <ac:chgData name="Matthias Scholer" userId="daad25a6-aca0-4d73-8528-03a468fe8ab9" providerId="ADAL" clId="{61F1D2C7-7A6C-4EA1-9543-00D7468A4E4D}" dt="2023-05-08T13:38:12.953" v="0"/>
          <ac:spMkLst>
            <pc:docMk/>
            <pc:sldMk cId="2678372365" sldId="350"/>
            <ac:spMk id="3" creationId="{00000000-0000-0000-0000-000000000000}"/>
          </ac:spMkLst>
        </pc:spChg>
      </pc:sldChg>
      <pc:sldChg chg="modSp mod">
        <pc:chgData name="Matthias Scholer" userId="daad25a6-aca0-4d73-8528-03a468fe8ab9" providerId="ADAL" clId="{61F1D2C7-7A6C-4EA1-9543-00D7468A4E4D}" dt="2023-05-08T13:38:13.093" v="1" actId="27636"/>
        <pc:sldMkLst>
          <pc:docMk/>
          <pc:sldMk cId="154817734" sldId="352"/>
        </pc:sldMkLst>
        <pc:spChg chg="mod">
          <ac:chgData name="Matthias Scholer" userId="daad25a6-aca0-4d73-8528-03a468fe8ab9" providerId="ADAL" clId="{61F1D2C7-7A6C-4EA1-9543-00D7468A4E4D}" dt="2023-05-08T13:38:13.093" v="1" actId="27636"/>
          <ac:spMkLst>
            <pc:docMk/>
            <pc:sldMk cId="154817734" sldId="352"/>
            <ac:spMk id="3" creationId="{00000000-0000-0000-0000-000000000000}"/>
          </ac:spMkLst>
        </pc:spChg>
        <pc:spChg chg="mod">
          <ac:chgData name="Matthias Scholer" userId="daad25a6-aca0-4d73-8528-03a468fe8ab9" providerId="ADAL" clId="{61F1D2C7-7A6C-4EA1-9543-00D7468A4E4D}" dt="2023-05-08T13:38:12.953" v="0"/>
          <ac:spMkLst>
            <pc:docMk/>
            <pc:sldMk cId="154817734" sldId="352"/>
            <ac:spMk id="4" creationId="{00000000-0000-0000-0000-000000000000}"/>
          </ac:spMkLst>
        </pc:spChg>
        <pc:spChg chg="mod">
          <ac:chgData name="Matthias Scholer" userId="daad25a6-aca0-4d73-8528-03a468fe8ab9" providerId="ADAL" clId="{61F1D2C7-7A6C-4EA1-9543-00D7468A4E4D}" dt="2023-05-08T13:38:12.953" v="0"/>
          <ac:spMkLst>
            <pc:docMk/>
            <pc:sldMk cId="154817734" sldId="352"/>
            <ac:spMk id="5" creationId="{00000000-0000-0000-0000-000000000000}"/>
          </ac:spMkLst>
        </pc:spChg>
      </pc:sldChg>
      <pc:sldChg chg="add">
        <pc:chgData name="Matthias Scholer" userId="daad25a6-aca0-4d73-8528-03a468fe8ab9" providerId="ADAL" clId="{61F1D2C7-7A6C-4EA1-9543-00D7468A4E4D}" dt="2023-05-22T08:01:26.592" v="263"/>
        <pc:sldMkLst>
          <pc:docMk/>
          <pc:sldMk cId="180694982" sldId="364"/>
        </pc:sldMkLst>
      </pc:sldChg>
      <pc:sldChg chg="add">
        <pc:chgData name="Matthias Scholer" userId="daad25a6-aca0-4d73-8528-03a468fe8ab9" providerId="ADAL" clId="{61F1D2C7-7A6C-4EA1-9543-00D7468A4E4D}" dt="2023-05-22T08:01:26.592" v="263"/>
        <pc:sldMkLst>
          <pc:docMk/>
          <pc:sldMk cId="4257713775" sldId="369"/>
        </pc:sldMkLst>
      </pc:sldChg>
      <pc:sldChg chg="add">
        <pc:chgData name="Matthias Scholer" userId="daad25a6-aca0-4d73-8528-03a468fe8ab9" providerId="ADAL" clId="{61F1D2C7-7A6C-4EA1-9543-00D7468A4E4D}" dt="2023-05-22T08:01:26.592" v="263"/>
        <pc:sldMkLst>
          <pc:docMk/>
          <pc:sldMk cId="357538020" sldId="370"/>
        </pc:sldMkLst>
      </pc:sldChg>
      <pc:sldChg chg="modSp add mod">
        <pc:chgData name="Matthias Scholer" userId="daad25a6-aca0-4d73-8528-03a468fe8ab9" providerId="ADAL" clId="{61F1D2C7-7A6C-4EA1-9543-00D7468A4E4D}" dt="2023-05-08T13:38:46.649" v="41"/>
        <pc:sldMkLst>
          <pc:docMk/>
          <pc:sldMk cId="625374514" sldId="405"/>
        </pc:sldMkLst>
        <pc:spChg chg="mod">
          <ac:chgData name="Matthias Scholer" userId="daad25a6-aca0-4d73-8528-03a468fe8ab9" providerId="ADAL" clId="{61F1D2C7-7A6C-4EA1-9543-00D7468A4E4D}" dt="2023-05-08T13:38:40.295" v="40" actId="20577"/>
          <ac:spMkLst>
            <pc:docMk/>
            <pc:sldMk cId="625374514" sldId="405"/>
            <ac:spMk id="2" creationId="{AEBDEA89-7970-39B5-FB7D-E8A78DC83D4C}"/>
          </ac:spMkLst>
        </pc:spChg>
        <pc:spChg chg="mod">
          <ac:chgData name="Matthias Scholer" userId="daad25a6-aca0-4d73-8528-03a468fe8ab9" providerId="ADAL" clId="{61F1D2C7-7A6C-4EA1-9543-00D7468A4E4D}" dt="2023-05-08T13:38:46.649" v="41"/>
          <ac:spMkLst>
            <pc:docMk/>
            <pc:sldMk cId="625374514" sldId="405"/>
            <ac:spMk id="4" creationId="{501DC283-ED45-EC2B-F441-094DFC027205}"/>
          </ac:spMkLst>
        </pc:spChg>
      </pc:sldChg>
      <pc:sldChg chg="modSp new del mod">
        <pc:chgData name="Matthias Scholer" userId="daad25a6-aca0-4d73-8528-03a468fe8ab9" providerId="ADAL" clId="{61F1D2C7-7A6C-4EA1-9543-00D7468A4E4D}" dt="2023-05-17T12:22:36.950" v="254" actId="2696"/>
        <pc:sldMkLst>
          <pc:docMk/>
          <pc:sldMk cId="3019801827" sldId="406"/>
        </pc:sldMkLst>
        <pc:spChg chg="mod">
          <ac:chgData name="Matthias Scholer" userId="daad25a6-aca0-4d73-8528-03a468fe8ab9" providerId="ADAL" clId="{61F1D2C7-7A6C-4EA1-9543-00D7468A4E4D}" dt="2023-05-17T12:03:31.104" v="215" actId="20577"/>
          <ac:spMkLst>
            <pc:docMk/>
            <pc:sldMk cId="3019801827" sldId="406"/>
            <ac:spMk id="3" creationId="{CB2C7378-7885-6D54-1B06-A71D2217A5A1}"/>
          </ac:spMkLst>
        </pc:spChg>
      </pc:sldChg>
      <pc:sldChg chg="modSp add mod">
        <pc:chgData name="Matthias Scholer" userId="daad25a6-aca0-4d73-8528-03a468fe8ab9" providerId="ADAL" clId="{61F1D2C7-7A6C-4EA1-9543-00D7468A4E4D}" dt="2023-05-17T12:05:52.748" v="222" actId="404"/>
        <pc:sldMkLst>
          <pc:docMk/>
          <pc:sldMk cId="426563419" sldId="407"/>
        </pc:sldMkLst>
        <pc:spChg chg="mod">
          <ac:chgData name="Matthias Scholer" userId="daad25a6-aca0-4d73-8528-03a468fe8ab9" providerId="ADAL" clId="{61F1D2C7-7A6C-4EA1-9543-00D7468A4E4D}" dt="2023-05-17T12:05:52.748" v="222" actId="404"/>
          <ac:spMkLst>
            <pc:docMk/>
            <pc:sldMk cId="426563419" sldId="407"/>
            <ac:spMk id="4" creationId="{00000000-0000-0000-0000-000000000000}"/>
          </ac:spMkLst>
        </pc:spChg>
      </pc:sldChg>
      <pc:sldChg chg="add">
        <pc:chgData name="Matthias Scholer" userId="daad25a6-aca0-4d73-8528-03a468fe8ab9" providerId="ADAL" clId="{61F1D2C7-7A6C-4EA1-9543-00D7468A4E4D}" dt="2023-05-17T12:02:50.882" v="162"/>
        <pc:sldMkLst>
          <pc:docMk/>
          <pc:sldMk cId="705574326" sldId="408"/>
        </pc:sldMkLst>
      </pc:sldChg>
      <pc:sldChg chg="add">
        <pc:chgData name="Matthias Scholer" userId="daad25a6-aca0-4d73-8528-03a468fe8ab9" providerId="ADAL" clId="{61F1D2C7-7A6C-4EA1-9543-00D7468A4E4D}" dt="2023-05-17T12:02:50.882" v="162"/>
        <pc:sldMkLst>
          <pc:docMk/>
          <pc:sldMk cId="1933137168" sldId="409"/>
        </pc:sldMkLst>
      </pc:sldChg>
      <pc:sldChg chg="add">
        <pc:chgData name="Matthias Scholer" userId="daad25a6-aca0-4d73-8528-03a468fe8ab9" providerId="ADAL" clId="{61F1D2C7-7A6C-4EA1-9543-00D7468A4E4D}" dt="2023-05-17T12:02:50.882" v="162"/>
        <pc:sldMkLst>
          <pc:docMk/>
          <pc:sldMk cId="2202785013" sldId="410"/>
        </pc:sldMkLst>
      </pc:sldChg>
      <pc:sldChg chg="add">
        <pc:chgData name="Matthias Scholer" userId="daad25a6-aca0-4d73-8528-03a468fe8ab9" providerId="ADAL" clId="{61F1D2C7-7A6C-4EA1-9543-00D7468A4E4D}" dt="2023-05-17T12:02:50.882" v="162"/>
        <pc:sldMkLst>
          <pc:docMk/>
          <pc:sldMk cId="2205641630" sldId="411"/>
        </pc:sldMkLst>
      </pc:sldChg>
      <pc:sldChg chg="modSp new mod">
        <pc:chgData name="Matthias Scholer" userId="daad25a6-aca0-4d73-8528-03a468fe8ab9" providerId="ADAL" clId="{61F1D2C7-7A6C-4EA1-9543-00D7468A4E4D}" dt="2023-05-17T12:03:03.711" v="187" actId="20577"/>
        <pc:sldMkLst>
          <pc:docMk/>
          <pc:sldMk cId="2312116435" sldId="412"/>
        </pc:sldMkLst>
        <pc:spChg chg="mod">
          <ac:chgData name="Matthias Scholer" userId="daad25a6-aca0-4d73-8528-03a468fe8ab9" providerId="ADAL" clId="{61F1D2C7-7A6C-4EA1-9543-00D7468A4E4D}" dt="2023-05-17T12:03:03.711" v="187" actId="20577"/>
          <ac:spMkLst>
            <pc:docMk/>
            <pc:sldMk cId="2312116435" sldId="412"/>
            <ac:spMk id="3" creationId="{1ACD76ED-A91E-BD1C-4493-451E6EDD6E15}"/>
          </ac:spMkLst>
        </pc:spChg>
      </pc:sldChg>
      <pc:sldChg chg="add del">
        <pc:chgData name="Matthias Scholer" userId="daad25a6-aca0-4d73-8528-03a468fe8ab9" providerId="ADAL" clId="{61F1D2C7-7A6C-4EA1-9543-00D7468A4E4D}" dt="2023-05-17T12:22:36.950" v="254" actId="2696"/>
        <pc:sldMkLst>
          <pc:docMk/>
          <pc:sldMk cId="2877196936" sldId="413"/>
        </pc:sldMkLst>
      </pc:sldChg>
      <pc:sldChg chg="add del">
        <pc:chgData name="Matthias Scholer" userId="daad25a6-aca0-4d73-8528-03a468fe8ab9" providerId="ADAL" clId="{61F1D2C7-7A6C-4EA1-9543-00D7468A4E4D}" dt="2023-05-17T12:22:36.950" v="254" actId="2696"/>
        <pc:sldMkLst>
          <pc:docMk/>
          <pc:sldMk cId="3386879230" sldId="414"/>
        </pc:sldMkLst>
      </pc:sldChg>
      <pc:sldChg chg="add del">
        <pc:chgData name="Matthias Scholer" userId="daad25a6-aca0-4d73-8528-03a468fe8ab9" providerId="ADAL" clId="{61F1D2C7-7A6C-4EA1-9543-00D7468A4E4D}" dt="2023-05-17T12:16:06.367" v="253" actId="47"/>
        <pc:sldMkLst>
          <pc:docMk/>
          <pc:sldMk cId="1467488323" sldId="415"/>
        </pc:sldMkLst>
      </pc:sldChg>
      <pc:sldChg chg="add del">
        <pc:chgData name="Matthias Scholer" userId="daad25a6-aca0-4d73-8528-03a468fe8ab9" providerId="ADAL" clId="{61F1D2C7-7A6C-4EA1-9543-00D7468A4E4D}" dt="2023-05-17T12:22:36.950" v="254" actId="2696"/>
        <pc:sldMkLst>
          <pc:docMk/>
          <pc:sldMk cId="3083670485" sldId="416"/>
        </pc:sldMkLst>
      </pc:sldChg>
      <pc:sldChg chg="add del">
        <pc:chgData name="Matthias Scholer" userId="daad25a6-aca0-4d73-8528-03a468fe8ab9" providerId="ADAL" clId="{61F1D2C7-7A6C-4EA1-9543-00D7468A4E4D}" dt="2023-05-17T12:22:36.950" v="254" actId="2696"/>
        <pc:sldMkLst>
          <pc:docMk/>
          <pc:sldMk cId="1522743187" sldId="417"/>
        </pc:sldMkLst>
      </pc:sldChg>
      <pc:sldChg chg="add del">
        <pc:chgData name="Matthias Scholer" userId="daad25a6-aca0-4d73-8528-03a468fe8ab9" providerId="ADAL" clId="{61F1D2C7-7A6C-4EA1-9543-00D7468A4E4D}" dt="2023-05-17T12:22:36.950" v="254" actId="2696"/>
        <pc:sldMkLst>
          <pc:docMk/>
          <pc:sldMk cId="3794809076" sldId="418"/>
        </pc:sldMkLst>
      </pc:sldChg>
      <pc:sldChg chg="add del">
        <pc:chgData name="Matthias Scholer" userId="daad25a6-aca0-4d73-8528-03a468fe8ab9" providerId="ADAL" clId="{61F1D2C7-7A6C-4EA1-9543-00D7468A4E4D}" dt="2023-05-17T12:22:36.950" v="254" actId="2696"/>
        <pc:sldMkLst>
          <pc:docMk/>
          <pc:sldMk cId="1410890263" sldId="419"/>
        </pc:sldMkLst>
      </pc:sldChg>
      <pc:sldChg chg="add del">
        <pc:chgData name="Matthias Scholer" userId="daad25a6-aca0-4d73-8528-03a468fe8ab9" providerId="ADAL" clId="{61F1D2C7-7A6C-4EA1-9543-00D7468A4E4D}" dt="2023-05-17T12:22:36.950" v="254" actId="2696"/>
        <pc:sldMkLst>
          <pc:docMk/>
          <pc:sldMk cId="3839294900" sldId="420"/>
        </pc:sldMkLst>
      </pc:sldChg>
      <pc:sldChg chg="add del">
        <pc:chgData name="Matthias Scholer" userId="daad25a6-aca0-4d73-8528-03a468fe8ab9" providerId="ADAL" clId="{61F1D2C7-7A6C-4EA1-9543-00D7468A4E4D}" dt="2023-05-17T12:22:36.950" v="254" actId="2696"/>
        <pc:sldMkLst>
          <pc:docMk/>
          <pc:sldMk cId="3993812270" sldId="421"/>
        </pc:sldMkLst>
      </pc:sldChg>
      <pc:sldChg chg="new del">
        <pc:chgData name="Matthias Scholer" userId="daad25a6-aca0-4d73-8528-03a468fe8ab9" providerId="ADAL" clId="{61F1D2C7-7A6C-4EA1-9543-00D7468A4E4D}" dt="2023-05-17T12:11:59.617" v="231" actId="47"/>
        <pc:sldMkLst>
          <pc:docMk/>
          <pc:sldMk cId="4087196764" sldId="422"/>
        </pc:sldMkLst>
      </pc:sldChg>
      <pc:sldChg chg="addSp delSp modSp add mod">
        <pc:chgData name="Matthias Scholer" userId="daad25a6-aca0-4d73-8528-03a468fe8ab9" providerId="ADAL" clId="{61F1D2C7-7A6C-4EA1-9543-00D7468A4E4D}" dt="2023-05-17T12:12:30.272" v="252"/>
        <pc:sldMkLst>
          <pc:docMk/>
          <pc:sldMk cId="773937436" sldId="423"/>
        </pc:sldMkLst>
        <pc:spChg chg="del">
          <ac:chgData name="Matthias Scholer" userId="daad25a6-aca0-4d73-8528-03a468fe8ab9" providerId="ADAL" clId="{61F1D2C7-7A6C-4EA1-9543-00D7468A4E4D}" dt="2023-05-17T12:12:03.671" v="233" actId="478"/>
          <ac:spMkLst>
            <pc:docMk/>
            <pc:sldMk cId="773937436" sldId="423"/>
            <ac:spMk id="3" creationId="{00000000-0000-0000-0000-000000000000}"/>
          </ac:spMkLst>
        </pc:spChg>
        <pc:spChg chg="add mod">
          <ac:chgData name="Matthias Scholer" userId="daad25a6-aca0-4d73-8528-03a468fe8ab9" providerId="ADAL" clId="{61F1D2C7-7A6C-4EA1-9543-00D7468A4E4D}" dt="2023-05-17T12:12:30.272" v="252"/>
          <ac:spMkLst>
            <pc:docMk/>
            <pc:sldMk cId="773937436" sldId="423"/>
            <ac:spMk id="4" creationId="{ACE33C1A-C021-9E17-B0FD-0E2267BCE65C}"/>
          </ac:spMkLst>
        </pc:spChg>
        <pc:spChg chg="mod">
          <ac:chgData name="Matthias Scholer" userId="daad25a6-aca0-4d73-8528-03a468fe8ab9" providerId="ADAL" clId="{61F1D2C7-7A6C-4EA1-9543-00D7468A4E4D}" dt="2023-05-17T12:12:11.257" v="248" actId="20577"/>
          <ac:spMkLst>
            <pc:docMk/>
            <pc:sldMk cId="773937436" sldId="423"/>
            <ac:spMk id="5" creationId="{49233886-B64B-BA4E-876E-4ECE62CC6557}"/>
          </ac:spMkLst>
        </pc:spChg>
        <pc:spChg chg="del">
          <ac:chgData name="Matthias Scholer" userId="daad25a6-aca0-4d73-8528-03a468fe8ab9" providerId="ADAL" clId="{61F1D2C7-7A6C-4EA1-9543-00D7468A4E4D}" dt="2023-05-17T12:12:04.953" v="234" actId="478"/>
          <ac:spMkLst>
            <pc:docMk/>
            <pc:sldMk cId="773937436" sldId="423"/>
            <ac:spMk id="13" creationId="{00000000-0000-0000-0000-000000000000}"/>
          </ac:spMkLst>
        </pc:spChg>
        <pc:spChg chg="del mod">
          <ac:chgData name="Matthias Scholer" userId="daad25a6-aca0-4d73-8528-03a468fe8ab9" providerId="ADAL" clId="{61F1D2C7-7A6C-4EA1-9543-00D7468A4E4D}" dt="2023-05-17T12:12:18.583" v="251"/>
          <ac:spMkLst>
            <pc:docMk/>
            <pc:sldMk cId="773937436" sldId="423"/>
            <ac:spMk id="14" creationId="{00000000-0000-0000-0000-000000000000}"/>
          </ac:spMkLst>
        </pc:spChg>
        <pc:picChg chg="del">
          <ac:chgData name="Matthias Scholer" userId="daad25a6-aca0-4d73-8528-03a468fe8ab9" providerId="ADAL" clId="{61F1D2C7-7A6C-4EA1-9543-00D7468A4E4D}" dt="2023-05-17T12:12:01.863" v="232" actId="478"/>
          <ac:picMkLst>
            <pc:docMk/>
            <pc:sldMk cId="773937436" sldId="423"/>
            <ac:picMk id="10" creationId="{ED18A1DF-7636-F04C-8DCD-27C82B35321E}"/>
          </ac:picMkLst>
        </pc:picChg>
      </pc:sldChg>
      <pc:sldChg chg="add ord">
        <pc:chgData name="Matthias Scholer" userId="daad25a6-aca0-4d73-8528-03a468fe8ab9" providerId="ADAL" clId="{61F1D2C7-7A6C-4EA1-9543-00D7468A4E4D}" dt="2023-05-22T07:53:27.316" v="257"/>
        <pc:sldMkLst>
          <pc:docMk/>
          <pc:sldMk cId="314508303" sldId="424"/>
        </pc:sldMkLst>
      </pc:sldChg>
      <pc:sldChg chg="add ord">
        <pc:chgData name="Matthias Scholer" userId="daad25a6-aca0-4d73-8528-03a468fe8ab9" providerId="ADAL" clId="{61F1D2C7-7A6C-4EA1-9543-00D7468A4E4D}" dt="2023-05-22T07:53:27.316" v="257"/>
        <pc:sldMkLst>
          <pc:docMk/>
          <pc:sldMk cId="1172467438" sldId="425"/>
        </pc:sldMkLst>
      </pc:sldChg>
      <pc:sldChg chg="add">
        <pc:chgData name="Matthias Scholer" userId="daad25a6-aca0-4d73-8528-03a468fe8ab9" providerId="ADAL" clId="{61F1D2C7-7A6C-4EA1-9543-00D7468A4E4D}" dt="2023-05-22T08:00:42.995" v="260"/>
        <pc:sldMkLst>
          <pc:docMk/>
          <pc:sldMk cId="3108728439" sldId="426"/>
        </pc:sldMkLst>
      </pc:sldChg>
      <pc:sldChg chg="add">
        <pc:chgData name="Matthias Scholer" userId="daad25a6-aca0-4d73-8528-03a468fe8ab9" providerId="ADAL" clId="{61F1D2C7-7A6C-4EA1-9543-00D7468A4E4D}" dt="2023-05-22T08:01:00.651" v="261"/>
        <pc:sldMkLst>
          <pc:docMk/>
          <pc:sldMk cId="1783710721" sldId="427"/>
        </pc:sldMkLst>
      </pc:sldChg>
      <pc:sldChg chg="add">
        <pc:chgData name="Matthias Scholer" userId="daad25a6-aca0-4d73-8528-03a468fe8ab9" providerId="ADAL" clId="{61F1D2C7-7A6C-4EA1-9543-00D7468A4E4D}" dt="2023-05-22T08:01:26.592" v="263"/>
        <pc:sldMkLst>
          <pc:docMk/>
          <pc:sldMk cId="1360345781" sldId="428"/>
        </pc:sldMkLst>
      </pc:sldChg>
      <pc:sldMasterChg chg="delSldLayout modSldLayout">
        <pc:chgData name="Matthias Scholer" userId="daad25a6-aca0-4d73-8528-03a468fe8ab9" providerId="ADAL" clId="{61F1D2C7-7A6C-4EA1-9543-00D7468A4E4D}" dt="2023-05-08T13:38:49.774" v="42" actId="47"/>
        <pc:sldMasterMkLst>
          <pc:docMk/>
          <pc:sldMasterMk cId="4006175236" sldId="2147483708"/>
        </pc:sldMasterMkLst>
        <pc:sldLayoutChg chg="delSp del">
          <pc:chgData name="Matthias Scholer" userId="daad25a6-aca0-4d73-8528-03a468fe8ab9" providerId="ADAL" clId="{61F1D2C7-7A6C-4EA1-9543-00D7468A4E4D}" dt="2023-05-08T13:38:49.774" v="42" actId="47"/>
          <pc:sldLayoutMkLst>
            <pc:docMk/>
            <pc:sldMasterMk cId="4006175236" sldId="2147483708"/>
            <pc:sldLayoutMk cId="2755687650" sldId="2147483724"/>
          </pc:sldLayoutMkLst>
          <pc:spChg chg="del">
            <ac:chgData name="Matthias Scholer" userId="daad25a6-aca0-4d73-8528-03a468fe8ab9" providerId="ADAL" clId="{61F1D2C7-7A6C-4EA1-9543-00D7468A4E4D}" dt="2023-05-08T13:38:12.953" v="0"/>
            <ac:spMkLst>
              <pc:docMk/>
              <pc:sldMasterMk cId="4006175236" sldId="2147483708"/>
              <pc:sldLayoutMk cId="2755687650" sldId="2147483724"/>
              <ac:spMk id="2" creationId="{00000000-0000-0000-0000-000000000000}"/>
            </ac:spMkLst>
          </pc:spChg>
          <pc:spChg chg="del">
            <ac:chgData name="Matthias Scholer" userId="daad25a6-aca0-4d73-8528-03a468fe8ab9" providerId="ADAL" clId="{61F1D2C7-7A6C-4EA1-9543-00D7468A4E4D}" dt="2023-05-08T13:38:12.953" v="0"/>
            <ac:spMkLst>
              <pc:docMk/>
              <pc:sldMasterMk cId="4006175236" sldId="2147483708"/>
              <pc:sldLayoutMk cId="2755687650" sldId="2147483724"/>
              <ac:spMk id="7" creationId="{4C5C8464-14ED-9743-918E-0BC16B00C34E}"/>
            </ac:spMkLst>
          </pc:spChg>
          <pc:picChg chg="del">
            <ac:chgData name="Matthias Scholer" userId="daad25a6-aca0-4d73-8528-03a468fe8ab9" providerId="ADAL" clId="{61F1D2C7-7A6C-4EA1-9543-00D7468A4E4D}" dt="2023-05-08T13:38:12.953" v="0"/>
            <ac:picMkLst>
              <pc:docMk/>
              <pc:sldMasterMk cId="4006175236" sldId="2147483708"/>
              <pc:sldLayoutMk cId="2755687650" sldId="2147483724"/>
              <ac:picMk id="12" creationId="{00000000-0000-0000-0000-000000000000}"/>
            </ac:picMkLst>
          </pc:picChg>
        </pc:sldLayoutChg>
      </pc:sldMasterChg>
    </pc:docChg>
  </pc:docChgLst>
  <pc:docChgLst>
    <pc:chgData name="Matthias Scholer" userId="daad25a6-aca0-4d73-8528-03a468fe8ab9" providerId="ADAL" clId="{992FC255-FDC9-45CC-A0C8-384427C27D7E}"/>
    <pc:docChg chg="undo redo custSel modSld sldOrd">
      <pc:chgData name="Matthias Scholer" userId="daad25a6-aca0-4d73-8528-03a468fe8ab9" providerId="ADAL" clId="{992FC255-FDC9-45CC-A0C8-384427C27D7E}" dt="2024-04-15T15:35:20.895" v="186" actId="1076"/>
      <pc:docMkLst>
        <pc:docMk/>
      </pc:docMkLst>
      <pc:sldChg chg="modSp">
        <pc:chgData name="Matthias Scholer" userId="daad25a6-aca0-4d73-8528-03a468fe8ab9" providerId="ADAL" clId="{992FC255-FDC9-45CC-A0C8-384427C27D7E}" dt="2024-04-15T15:18:10.862" v="89" actId="1076"/>
        <pc:sldMkLst>
          <pc:docMk/>
          <pc:sldMk cId="1837863044" sldId="303"/>
        </pc:sldMkLst>
        <pc:spChg chg="mod">
          <ac:chgData name="Matthias Scholer" userId="daad25a6-aca0-4d73-8528-03a468fe8ab9" providerId="ADAL" clId="{992FC255-FDC9-45CC-A0C8-384427C27D7E}" dt="2024-04-15T15:18:10.862" v="89" actId="1076"/>
          <ac:spMkLst>
            <pc:docMk/>
            <pc:sldMk cId="1837863044" sldId="303"/>
            <ac:spMk id="31" creationId="{00000000-0000-0000-0000-000000000000}"/>
          </ac:spMkLst>
        </pc:spChg>
      </pc:sldChg>
      <pc:sldChg chg="modSp">
        <pc:chgData name="Matthias Scholer" userId="daad25a6-aca0-4d73-8528-03a468fe8ab9" providerId="ADAL" clId="{992FC255-FDC9-45CC-A0C8-384427C27D7E}" dt="2024-04-15T15:12:56.713" v="67" actId="1076"/>
        <pc:sldMkLst>
          <pc:docMk/>
          <pc:sldMk cId="2887432786" sldId="305"/>
        </pc:sldMkLst>
        <pc:spChg chg="mod">
          <ac:chgData name="Matthias Scholer" userId="daad25a6-aca0-4d73-8528-03a468fe8ab9" providerId="ADAL" clId="{992FC255-FDC9-45CC-A0C8-384427C27D7E}" dt="2024-04-15T15:12:49.684" v="66" actId="1076"/>
          <ac:spMkLst>
            <pc:docMk/>
            <pc:sldMk cId="2887432786" sldId="305"/>
            <ac:spMk id="23"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27"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28"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29"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0"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2"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3"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4"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5"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6" creationId="{00000000-0000-0000-0000-000000000000}"/>
          </ac:spMkLst>
        </pc:spChg>
        <pc:spChg chg="mod">
          <ac:chgData name="Matthias Scholer" userId="daad25a6-aca0-4d73-8528-03a468fe8ab9" providerId="ADAL" clId="{992FC255-FDC9-45CC-A0C8-384427C27D7E}" dt="2024-04-15T15:12:56.713" v="67" actId="1076"/>
          <ac:spMkLst>
            <pc:docMk/>
            <pc:sldMk cId="2887432786" sldId="305"/>
            <ac:spMk id="37" creationId="{00000000-0000-0000-0000-000000000000}"/>
          </ac:spMkLst>
        </pc:spChg>
        <pc:grpChg chg="mod">
          <ac:chgData name="Matthias Scholer" userId="daad25a6-aca0-4d73-8528-03a468fe8ab9" providerId="ADAL" clId="{992FC255-FDC9-45CC-A0C8-384427C27D7E}" dt="2024-04-15T15:12:56.713" v="67" actId="1076"/>
          <ac:grpSpMkLst>
            <pc:docMk/>
            <pc:sldMk cId="2887432786" sldId="305"/>
            <ac:grpSpMk id="25" creationId="{00000000-0000-0000-0000-000000000000}"/>
          </ac:grpSpMkLst>
        </pc:grpChg>
        <pc:grpChg chg="mod">
          <ac:chgData name="Matthias Scholer" userId="daad25a6-aca0-4d73-8528-03a468fe8ab9" providerId="ADAL" clId="{992FC255-FDC9-45CC-A0C8-384427C27D7E}" dt="2024-04-15T15:12:56.713" v="67" actId="1076"/>
          <ac:grpSpMkLst>
            <pc:docMk/>
            <pc:sldMk cId="2887432786" sldId="305"/>
            <ac:grpSpMk id="26" creationId="{00000000-0000-0000-0000-000000000000}"/>
          </ac:grpSpMkLst>
        </pc:grpChg>
        <pc:picChg chg="mod">
          <ac:chgData name="Matthias Scholer" userId="daad25a6-aca0-4d73-8528-03a468fe8ab9" providerId="ADAL" clId="{992FC255-FDC9-45CC-A0C8-384427C27D7E}" dt="2024-04-15T15:12:56.713" v="67" actId="1076"/>
          <ac:picMkLst>
            <pc:docMk/>
            <pc:sldMk cId="2887432786" sldId="305"/>
            <ac:picMk id="31" creationId="{00000000-0000-0000-0000-000000000000}"/>
          </ac:picMkLst>
        </pc:picChg>
      </pc:sldChg>
      <pc:sldChg chg="modSp mod">
        <pc:chgData name="Matthias Scholer" userId="daad25a6-aca0-4d73-8528-03a468fe8ab9" providerId="ADAL" clId="{992FC255-FDC9-45CC-A0C8-384427C27D7E}" dt="2024-04-15T15:13:12.587" v="69" actId="14100"/>
        <pc:sldMkLst>
          <pc:docMk/>
          <pc:sldMk cId="4289611318" sldId="306"/>
        </pc:sldMkLst>
        <pc:spChg chg="mod">
          <ac:chgData name="Matthias Scholer" userId="daad25a6-aca0-4d73-8528-03a468fe8ab9" providerId="ADAL" clId="{992FC255-FDC9-45CC-A0C8-384427C27D7E}" dt="2024-04-15T15:13:12.587" v="69" actId="14100"/>
          <ac:spMkLst>
            <pc:docMk/>
            <pc:sldMk cId="4289611318" sldId="306"/>
            <ac:spMk id="46082" creationId="{00000000-0000-0000-0000-000000000000}"/>
          </ac:spMkLst>
        </pc:spChg>
      </pc:sldChg>
      <pc:sldChg chg="modSp mod">
        <pc:chgData name="Matthias Scholer" userId="daad25a6-aca0-4d73-8528-03a468fe8ab9" providerId="ADAL" clId="{992FC255-FDC9-45CC-A0C8-384427C27D7E}" dt="2024-04-15T15:35:20.895" v="186" actId="1076"/>
        <pc:sldMkLst>
          <pc:docMk/>
          <pc:sldMk cId="1817802834" sldId="374"/>
        </pc:sldMkLst>
        <pc:spChg chg="mod">
          <ac:chgData name="Matthias Scholer" userId="daad25a6-aca0-4d73-8528-03a468fe8ab9" providerId="ADAL" clId="{992FC255-FDC9-45CC-A0C8-384427C27D7E}" dt="2024-04-15T15:35:20.895" v="186" actId="1076"/>
          <ac:spMkLst>
            <pc:docMk/>
            <pc:sldMk cId="1817802834" sldId="374"/>
            <ac:spMk id="5" creationId="{00000000-0000-0000-0000-000000000000}"/>
          </ac:spMkLst>
        </pc:spChg>
      </pc:sldChg>
      <pc:sldChg chg="modSp mod">
        <pc:chgData name="Matthias Scholer" userId="daad25a6-aca0-4d73-8528-03a468fe8ab9" providerId="ADAL" clId="{992FC255-FDC9-45CC-A0C8-384427C27D7E}" dt="2024-04-15T15:18:43.692" v="95" actId="1076"/>
        <pc:sldMkLst>
          <pc:docMk/>
          <pc:sldMk cId="1675678487" sldId="407"/>
        </pc:sldMkLst>
        <pc:spChg chg="mod">
          <ac:chgData name="Matthias Scholer" userId="daad25a6-aca0-4d73-8528-03a468fe8ab9" providerId="ADAL" clId="{992FC255-FDC9-45CC-A0C8-384427C27D7E}" dt="2024-04-15T15:18:43.692" v="95" actId="1076"/>
          <ac:spMkLst>
            <pc:docMk/>
            <pc:sldMk cId="1675678487" sldId="407"/>
            <ac:spMk id="2" creationId="{00000000-0000-0000-0000-000000000000}"/>
          </ac:spMkLst>
        </pc:spChg>
      </pc:sldChg>
      <pc:sldChg chg="modSp">
        <pc:chgData name="Matthias Scholer" userId="daad25a6-aca0-4d73-8528-03a468fe8ab9" providerId="ADAL" clId="{992FC255-FDC9-45CC-A0C8-384427C27D7E}" dt="2024-04-15T15:18:20.765" v="90" actId="1076"/>
        <pc:sldMkLst>
          <pc:docMk/>
          <pc:sldMk cId="3097149474" sldId="417"/>
        </pc:sldMkLst>
        <pc:spChg chg="mod">
          <ac:chgData name="Matthias Scholer" userId="daad25a6-aca0-4d73-8528-03a468fe8ab9" providerId="ADAL" clId="{992FC255-FDC9-45CC-A0C8-384427C27D7E}" dt="2024-04-15T15:18:20.765" v="90" actId="1076"/>
          <ac:spMkLst>
            <pc:docMk/>
            <pc:sldMk cId="3097149474" sldId="417"/>
            <ac:spMk id="11" creationId="{00000000-0000-0000-0000-000000000000}"/>
          </ac:spMkLst>
        </pc:spChg>
      </pc:sldChg>
      <pc:sldChg chg="modSp">
        <pc:chgData name="Matthias Scholer" userId="daad25a6-aca0-4d73-8528-03a468fe8ab9" providerId="ADAL" clId="{992FC255-FDC9-45CC-A0C8-384427C27D7E}" dt="2024-04-15T15:13:37.516" v="70" actId="1076"/>
        <pc:sldMkLst>
          <pc:docMk/>
          <pc:sldMk cId="2750802394" sldId="421"/>
        </pc:sldMkLst>
        <pc:spChg chg="mod">
          <ac:chgData name="Matthias Scholer" userId="daad25a6-aca0-4d73-8528-03a468fe8ab9" providerId="ADAL" clId="{992FC255-FDC9-45CC-A0C8-384427C27D7E}" dt="2024-04-15T15:13:37.516" v="70" actId="1076"/>
          <ac:spMkLst>
            <pc:docMk/>
            <pc:sldMk cId="2750802394" sldId="421"/>
            <ac:spMk id="20" creationId="{00000000-0000-0000-0000-000000000000}"/>
          </ac:spMkLst>
        </pc:spChg>
      </pc:sldChg>
      <pc:sldChg chg="modSp">
        <pc:chgData name="Matthias Scholer" userId="daad25a6-aca0-4d73-8528-03a468fe8ab9" providerId="ADAL" clId="{992FC255-FDC9-45CC-A0C8-384427C27D7E}" dt="2024-04-15T15:35:06.777" v="184" actId="1037"/>
        <pc:sldMkLst>
          <pc:docMk/>
          <pc:sldMk cId="271597112" sldId="424"/>
        </pc:sldMkLst>
        <pc:spChg chg="mod">
          <ac:chgData name="Matthias Scholer" userId="daad25a6-aca0-4d73-8528-03a468fe8ab9" providerId="ADAL" clId="{992FC255-FDC9-45CC-A0C8-384427C27D7E}" dt="2024-04-15T15:35:06.777" v="184" actId="1037"/>
          <ac:spMkLst>
            <pc:docMk/>
            <pc:sldMk cId="271597112" sldId="424"/>
            <ac:spMk id="11" creationId="{00000000-0000-0000-0000-000000000000}"/>
          </ac:spMkLst>
        </pc:spChg>
      </pc:sldChg>
      <pc:sldChg chg="modSp mod">
        <pc:chgData name="Matthias Scholer" userId="daad25a6-aca0-4d73-8528-03a468fe8ab9" providerId="ADAL" clId="{992FC255-FDC9-45CC-A0C8-384427C27D7E}" dt="2024-04-15T15:14:06.185" v="72" actId="948"/>
        <pc:sldMkLst>
          <pc:docMk/>
          <pc:sldMk cId="3134678137" sldId="426"/>
        </pc:sldMkLst>
        <pc:spChg chg="mod">
          <ac:chgData name="Matthias Scholer" userId="daad25a6-aca0-4d73-8528-03a468fe8ab9" providerId="ADAL" clId="{992FC255-FDC9-45CC-A0C8-384427C27D7E}" dt="2024-04-15T15:14:06.185" v="72" actId="948"/>
          <ac:spMkLst>
            <pc:docMk/>
            <pc:sldMk cId="3134678137" sldId="426"/>
            <ac:spMk id="2" creationId="{00000000-0000-0000-0000-000000000000}"/>
          </ac:spMkLst>
        </pc:spChg>
      </pc:sldChg>
      <pc:sldChg chg="modSp">
        <pc:chgData name="Matthias Scholer" userId="daad25a6-aca0-4d73-8528-03a468fe8ab9" providerId="ADAL" clId="{992FC255-FDC9-45CC-A0C8-384427C27D7E}" dt="2024-04-15T15:35:13.669" v="185" actId="1076"/>
        <pc:sldMkLst>
          <pc:docMk/>
          <pc:sldMk cId="2799414757" sldId="428"/>
        </pc:sldMkLst>
        <pc:spChg chg="mod">
          <ac:chgData name="Matthias Scholer" userId="daad25a6-aca0-4d73-8528-03a468fe8ab9" providerId="ADAL" clId="{992FC255-FDC9-45CC-A0C8-384427C27D7E}" dt="2024-04-15T15:35:13.669" v="185" actId="1076"/>
          <ac:spMkLst>
            <pc:docMk/>
            <pc:sldMk cId="2799414757" sldId="428"/>
            <ac:spMk id="27" creationId="{00000000-0000-0000-0000-000000000000}"/>
          </ac:spMkLst>
        </pc:spChg>
      </pc:sldChg>
      <pc:sldChg chg="modSp mod">
        <pc:chgData name="Matthias Scholer" userId="daad25a6-aca0-4d73-8528-03a468fe8ab9" providerId="ADAL" clId="{992FC255-FDC9-45CC-A0C8-384427C27D7E}" dt="2024-04-15T15:16:29.673" v="83" actId="1035"/>
        <pc:sldMkLst>
          <pc:docMk/>
          <pc:sldMk cId="3982390243" sldId="430"/>
        </pc:sldMkLst>
        <pc:spChg chg="mod">
          <ac:chgData name="Matthias Scholer" userId="daad25a6-aca0-4d73-8528-03a468fe8ab9" providerId="ADAL" clId="{992FC255-FDC9-45CC-A0C8-384427C27D7E}" dt="2024-04-15T15:16:29.673" v="83" actId="1035"/>
          <ac:spMkLst>
            <pc:docMk/>
            <pc:sldMk cId="3982390243" sldId="430"/>
            <ac:spMk id="2" creationId="{00000000-0000-0000-0000-000000000000}"/>
          </ac:spMkLst>
        </pc:spChg>
        <pc:spChg chg="mod">
          <ac:chgData name="Matthias Scholer" userId="daad25a6-aca0-4d73-8528-03a468fe8ab9" providerId="ADAL" clId="{992FC255-FDC9-45CC-A0C8-384427C27D7E}" dt="2024-04-15T15:16:07.840" v="77" actId="1076"/>
          <ac:spMkLst>
            <pc:docMk/>
            <pc:sldMk cId="3982390243" sldId="430"/>
            <ac:spMk id="25"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28"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2"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3"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4"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5"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6"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8"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39"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0"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1"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2"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3"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4"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5"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6"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7" creationId="{00000000-0000-0000-0000-000000000000}"/>
          </ac:spMkLst>
        </pc:spChg>
        <pc:spChg chg="mod">
          <ac:chgData name="Matthias Scholer" userId="daad25a6-aca0-4d73-8528-03a468fe8ab9" providerId="ADAL" clId="{992FC255-FDC9-45CC-A0C8-384427C27D7E}" dt="2024-04-15T15:16:24.446" v="80" actId="1035"/>
          <ac:spMkLst>
            <pc:docMk/>
            <pc:sldMk cId="3982390243" sldId="430"/>
            <ac:spMk id="48" creationId="{00000000-0000-0000-0000-000000000000}"/>
          </ac:spMkLst>
        </pc:spChg>
        <pc:grpChg chg="mod">
          <ac:chgData name="Matthias Scholer" userId="daad25a6-aca0-4d73-8528-03a468fe8ab9" providerId="ADAL" clId="{992FC255-FDC9-45CC-A0C8-384427C27D7E}" dt="2024-04-15T15:16:24.446" v="80" actId="1035"/>
          <ac:grpSpMkLst>
            <pc:docMk/>
            <pc:sldMk cId="3982390243" sldId="430"/>
            <ac:grpSpMk id="27" creationId="{00000000-0000-0000-0000-000000000000}"/>
          </ac:grpSpMkLst>
        </pc:grpChg>
        <pc:grpChg chg="mod">
          <ac:chgData name="Matthias Scholer" userId="daad25a6-aca0-4d73-8528-03a468fe8ab9" providerId="ADAL" clId="{992FC255-FDC9-45CC-A0C8-384427C27D7E}" dt="2024-04-15T15:16:24.446" v="80" actId="1035"/>
          <ac:grpSpMkLst>
            <pc:docMk/>
            <pc:sldMk cId="3982390243" sldId="430"/>
            <ac:grpSpMk id="29" creationId="{00000000-0000-0000-0000-000000000000}"/>
          </ac:grpSpMkLst>
        </pc:grpChg>
        <pc:grpChg chg="mod">
          <ac:chgData name="Matthias Scholer" userId="daad25a6-aca0-4d73-8528-03a468fe8ab9" providerId="ADAL" clId="{992FC255-FDC9-45CC-A0C8-384427C27D7E}" dt="2024-04-15T15:16:24.446" v="80" actId="1035"/>
          <ac:grpSpMkLst>
            <pc:docMk/>
            <pc:sldMk cId="3982390243" sldId="430"/>
            <ac:grpSpMk id="30" creationId="{00000000-0000-0000-0000-000000000000}"/>
          </ac:grpSpMkLst>
        </pc:grpChg>
        <pc:grpChg chg="mod">
          <ac:chgData name="Matthias Scholer" userId="daad25a6-aca0-4d73-8528-03a468fe8ab9" providerId="ADAL" clId="{992FC255-FDC9-45CC-A0C8-384427C27D7E}" dt="2024-04-15T15:16:24.446" v="80" actId="1035"/>
          <ac:grpSpMkLst>
            <pc:docMk/>
            <pc:sldMk cId="3982390243" sldId="430"/>
            <ac:grpSpMk id="31" creationId="{00000000-0000-0000-0000-000000000000}"/>
          </ac:grpSpMkLst>
        </pc:grpChg>
      </pc:sldChg>
      <pc:sldChg chg="modSp">
        <pc:chgData name="Matthias Scholer" userId="daad25a6-aca0-4d73-8528-03a468fe8ab9" providerId="ADAL" clId="{992FC255-FDC9-45CC-A0C8-384427C27D7E}" dt="2024-04-15T15:16:46.649" v="88" actId="1036"/>
        <pc:sldMkLst>
          <pc:docMk/>
          <pc:sldMk cId="1031261644" sldId="431"/>
        </pc:sldMkLst>
        <pc:spChg chg="mod">
          <ac:chgData name="Matthias Scholer" userId="daad25a6-aca0-4d73-8528-03a468fe8ab9" providerId="ADAL" clId="{992FC255-FDC9-45CC-A0C8-384427C27D7E}" dt="2024-04-15T15:16:46.649" v="88" actId="1036"/>
          <ac:spMkLst>
            <pc:docMk/>
            <pc:sldMk cId="1031261644" sldId="431"/>
            <ac:spMk id="46"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47"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49"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50"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51"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52"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57"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60"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61"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62"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63"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64"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1"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2"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3"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4"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5"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7" creationId="{00000000-0000-0000-0000-000000000000}"/>
          </ac:spMkLst>
        </pc:spChg>
        <pc:spChg chg="mod">
          <ac:chgData name="Matthias Scholer" userId="daad25a6-aca0-4d73-8528-03a468fe8ab9" providerId="ADAL" clId="{992FC255-FDC9-45CC-A0C8-384427C27D7E}" dt="2024-04-15T15:16:46.649" v="88" actId="1036"/>
          <ac:spMkLst>
            <pc:docMk/>
            <pc:sldMk cId="1031261644" sldId="431"/>
            <ac:spMk id="78" creationId="{00000000-0000-0000-0000-000000000000}"/>
          </ac:spMkLst>
        </pc:spChg>
        <pc:grpChg chg="mod">
          <ac:chgData name="Matthias Scholer" userId="daad25a6-aca0-4d73-8528-03a468fe8ab9" providerId="ADAL" clId="{992FC255-FDC9-45CC-A0C8-384427C27D7E}" dt="2024-04-15T15:16:46.649" v="88" actId="1036"/>
          <ac:grpSpMkLst>
            <pc:docMk/>
            <pc:sldMk cId="1031261644" sldId="431"/>
            <ac:grpSpMk id="43" creationId="{00000000-0000-0000-0000-000000000000}"/>
          </ac:grpSpMkLst>
        </pc:grpChg>
        <pc:grpChg chg="mod">
          <ac:chgData name="Matthias Scholer" userId="daad25a6-aca0-4d73-8528-03a468fe8ab9" providerId="ADAL" clId="{992FC255-FDC9-45CC-A0C8-384427C27D7E}" dt="2024-04-15T15:16:46.649" v="88" actId="1036"/>
          <ac:grpSpMkLst>
            <pc:docMk/>
            <pc:sldMk cId="1031261644" sldId="431"/>
            <ac:grpSpMk id="48" creationId="{00000000-0000-0000-0000-000000000000}"/>
          </ac:grpSpMkLst>
        </pc:grpChg>
        <pc:grpChg chg="mod">
          <ac:chgData name="Matthias Scholer" userId="daad25a6-aca0-4d73-8528-03a468fe8ab9" providerId="ADAL" clId="{992FC255-FDC9-45CC-A0C8-384427C27D7E}" dt="2024-04-15T15:16:46.649" v="88" actId="1036"/>
          <ac:grpSpMkLst>
            <pc:docMk/>
            <pc:sldMk cId="1031261644" sldId="431"/>
            <ac:grpSpMk id="59" creationId="{00000000-0000-0000-0000-000000000000}"/>
          </ac:grpSpMkLst>
        </pc:grpChg>
        <pc:cxnChg chg="mod">
          <ac:chgData name="Matthias Scholer" userId="daad25a6-aca0-4d73-8528-03a468fe8ab9" providerId="ADAL" clId="{992FC255-FDC9-45CC-A0C8-384427C27D7E}" dt="2024-04-15T15:16:46.649" v="88" actId="1036"/>
          <ac:cxnSpMkLst>
            <pc:docMk/>
            <pc:sldMk cId="1031261644" sldId="431"/>
            <ac:cxnSpMk id="44" creationId="{00000000-0000-0000-0000-000000000000}"/>
          </ac:cxnSpMkLst>
        </pc:cxnChg>
        <pc:cxnChg chg="mod">
          <ac:chgData name="Matthias Scholer" userId="daad25a6-aca0-4d73-8528-03a468fe8ab9" providerId="ADAL" clId="{992FC255-FDC9-45CC-A0C8-384427C27D7E}" dt="2024-04-15T15:16:46.649" v="88" actId="1036"/>
          <ac:cxnSpMkLst>
            <pc:docMk/>
            <pc:sldMk cId="1031261644" sldId="431"/>
            <ac:cxnSpMk id="53" creationId="{00000000-0000-0000-0000-000000000000}"/>
          </ac:cxnSpMkLst>
        </pc:cxnChg>
        <pc:cxnChg chg="mod">
          <ac:chgData name="Matthias Scholer" userId="daad25a6-aca0-4d73-8528-03a468fe8ab9" providerId="ADAL" clId="{992FC255-FDC9-45CC-A0C8-384427C27D7E}" dt="2024-04-15T15:16:46.649" v="88" actId="1036"/>
          <ac:cxnSpMkLst>
            <pc:docMk/>
            <pc:sldMk cId="1031261644" sldId="431"/>
            <ac:cxnSpMk id="54" creationId="{00000000-0000-0000-0000-000000000000}"/>
          </ac:cxnSpMkLst>
        </pc:cxnChg>
        <pc:cxnChg chg="mod">
          <ac:chgData name="Matthias Scholer" userId="daad25a6-aca0-4d73-8528-03a468fe8ab9" providerId="ADAL" clId="{992FC255-FDC9-45CC-A0C8-384427C27D7E}" dt="2024-04-15T15:16:46.649" v="88" actId="1036"/>
          <ac:cxnSpMkLst>
            <pc:docMk/>
            <pc:sldMk cId="1031261644" sldId="431"/>
            <ac:cxnSpMk id="55" creationId="{00000000-0000-0000-0000-000000000000}"/>
          </ac:cxnSpMkLst>
        </pc:cxnChg>
        <pc:cxnChg chg="mod">
          <ac:chgData name="Matthias Scholer" userId="daad25a6-aca0-4d73-8528-03a468fe8ab9" providerId="ADAL" clId="{992FC255-FDC9-45CC-A0C8-384427C27D7E}" dt="2024-04-15T15:16:46.649" v="88" actId="1036"/>
          <ac:cxnSpMkLst>
            <pc:docMk/>
            <pc:sldMk cId="1031261644" sldId="431"/>
            <ac:cxnSpMk id="56" creationId="{00000000-0000-0000-0000-000000000000}"/>
          </ac:cxnSpMkLst>
        </pc:cxnChg>
      </pc:sldChg>
      <pc:sldChg chg="ord">
        <pc:chgData name="Matthias Scholer" userId="daad25a6-aca0-4d73-8528-03a468fe8ab9" providerId="ADAL" clId="{992FC255-FDC9-45CC-A0C8-384427C27D7E}" dt="2024-04-15T15:14:52.591" v="76"/>
        <pc:sldMkLst>
          <pc:docMk/>
          <pc:sldMk cId="1860611279" sldId="437"/>
        </pc:sldMkLst>
      </pc:sldChg>
      <pc:sldChg chg="ord">
        <pc:chgData name="Matthias Scholer" userId="daad25a6-aca0-4d73-8528-03a468fe8ab9" providerId="ADAL" clId="{992FC255-FDC9-45CC-A0C8-384427C27D7E}" dt="2024-04-15T15:14:52.591" v="76"/>
        <pc:sldMkLst>
          <pc:docMk/>
          <pc:sldMk cId="831295496" sldId="438"/>
        </pc:sldMkLst>
      </pc:sldChg>
      <pc:sldChg chg="modSp">
        <pc:chgData name="Matthias Scholer" userId="daad25a6-aca0-4d73-8528-03a468fe8ab9" providerId="ADAL" clId="{992FC255-FDC9-45CC-A0C8-384427C27D7E}" dt="2024-04-15T15:18:43.210" v="94" actId="1076"/>
        <pc:sldMkLst>
          <pc:docMk/>
          <pc:sldMk cId="2457845669" sldId="446"/>
        </pc:sldMkLst>
        <pc:spChg chg="mod">
          <ac:chgData name="Matthias Scholer" userId="daad25a6-aca0-4d73-8528-03a468fe8ab9" providerId="ADAL" clId="{992FC255-FDC9-45CC-A0C8-384427C27D7E}" dt="2024-04-15T15:18:43.210" v="94" actId="1076"/>
          <ac:spMkLst>
            <pc:docMk/>
            <pc:sldMk cId="2457845669" sldId="446"/>
            <ac:spMk id="8" creationId="{00000000-0000-0000-0000-000000000000}"/>
          </ac:spMkLst>
        </pc:spChg>
        <pc:spChg chg="mod">
          <ac:chgData name="Matthias Scholer" userId="daad25a6-aca0-4d73-8528-03a468fe8ab9" providerId="ADAL" clId="{992FC255-FDC9-45CC-A0C8-384427C27D7E}" dt="2024-04-15T15:18:43.210" v="94" actId="1076"/>
          <ac:spMkLst>
            <pc:docMk/>
            <pc:sldMk cId="2457845669" sldId="446"/>
            <ac:spMk id="9" creationId="{00000000-0000-0000-0000-000000000000}"/>
          </ac:spMkLst>
        </pc:spChg>
        <pc:spChg chg="mod">
          <ac:chgData name="Matthias Scholer" userId="daad25a6-aca0-4d73-8528-03a468fe8ab9" providerId="ADAL" clId="{992FC255-FDC9-45CC-A0C8-384427C27D7E}" dt="2024-04-15T15:18:43.210" v="94" actId="1076"/>
          <ac:spMkLst>
            <pc:docMk/>
            <pc:sldMk cId="2457845669" sldId="446"/>
            <ac:spMk id="10" creationId="{00000000-0000-0000-0000-000000000000}"/>
          </ac:spMkLst>
        </pc:spChg>
        <pc:spChg chg="mod">
          <ac:chgData name="Matthias Scholer" userId="daad25a6-aca0-4d73-8528-03a468fe8ab9" providerId="ADAL" clId="{992FC255-FDC9-45CC-A0C8-384427C27D7E}" dt="2024-04-15T15:18:43.210" v="94" actId="1076"/>
          <ac:spMkLst>
            <pc:docMk/>
            <pc:sldMk cId="2457845669" sldId="446"/>
            <ac:spMk id="11" creationId="{00000000-0000-0000-0000-000000000000}"/>
          </ac:spMkLst>
        </pc:spChg>
        <pc:spChg chg="mod">
          <ac:chgData name="Matthias Scholer" userId="daad25a6-aca0-4d73-8528-03a468fe8ab9" providerId="ADAL" clId="{992FC255-FDC9-45CC-A0C8-384427C27D7E}" dt="2024-04-15T15:18:43.210" v="94" actId="1076"/>
          <ac:spMkLst>
            <pc:docMk/>
            <pc:sldMk cId="2457845669" sldId="446"/>
            <ac:spMk id="12" creationId="{00000000-0000-0000-0000-000000000000}"/>
          </ac:spMkLst>
        </pc:spChg>
        <pc:spChg chg="mod">
          <ac:chgData name="Matthias Scholer" userId="daad25a6-aca0-4d73-8528-03a468fe8ab9" providerId="ADAL" clId="{992FC255-FDC9-45CC-A0C8-384427C27D7E}" dt="2024-04-15T15:18:43.210" v="94" actId="1076"/>
          <ac:spMkLst>
            <pc:docMk/>
            <pc:sldMk cId="2457845669" sldId="446"/>
            <ac:spMk id="20" creationId="{00000000-0000-0000-0000-000000000000}"/>
          </ac:spMkLst>
        </pc:spChg>
        <pc:grpChg chg="mod">
          <ac:chgData name="Matthias Scholer" userId="daad25a6-aca0-4d73-8528-03a468fe8ab9" providerId="ADAL" clId="{992FC255-FDC9-45CC-A0C8-384427C27D7E}" dt="2024-04-15T15:18:43.210" v="94" actId="1076"/>
          <ac:grpSpMkLst>
            <pc:docMk/>
            <pc:sldMk cId="2457845669" sldId="446"/>
            <ac:grpSpMk id="6" creationId="{00000000-0000-0000-0000-000000000000}"/>
          </ac:grpSpMkLst>
        </pc:grpChg>
        <pc:picChg chg="mod">
          <ac:chgData name="Matthias Scholer" userId="daad25a6-aca0-4d73-8528-03a468fe8ab9" providerId="ADAL" clId="{992FC255-FDC9-45CC-A0C8-384427C27D7E}" dt="2024-04-15T15:18:43.210" v="94" actId="1076"/>
          <ac:picMkLst>
            <pc:docMk/>
            <pc:sldMk cId="2457845669" sldId="446"/>
            <ac:picMk id="16" creationId="{00000000-0000-0000-0000-000000000000}"/>
          </ac:picMkLst>
        </pc:picChg>
        <pc:picChg chg="mod">
          <ac:chgData name="Matthias Scholer" userId="daad25a6-aca0-4d73-8528-03a468fe8ab9" providerId="ADAL" clId="{992FC255-FDC9-45CC-A0C8-384427C27D7E}" dt="2024-04-15T15:18:43.210" v="94" actId="1076"/>
          <ac:picMkLst>
            <pc:docMk/>
            <pc:sldMk cId="2457845669" sldId="446"/>
            <ac:picMk id="17" creationId="{00000000-0000-0000-0000-000000000000}"/>
          </ac:picMkLst>
        </pc:picChg>
        <pc:picChg chg="mod">
          <ac:chgData name="Matthias Scholer" userId="daad25a6-aca0-4d73-8528-03a468fe8ab9" providerId="ADAL" clId="{992FC255-FDC9-45CC-A0C8-384427C27D7E}" dt="2024-04-15T15:18:43.210" v="94" actId="1076"/>
          <ac:picMkLst>
            <pc:docMk/>
            <pc:sldMk cId="2457845669" sldId="446"/>
            <ac:picMk id="18" creationId="{00000000-0000-0000-0000-000000000000}"/>
          </ac:picMkLst>
        </pc:picChg>
        <pc:picChg chg="mod">
          <ac:chgData name="Matthias Scholer" userId="daad25a6-aca0-4d73-8528-03a468fe8ab9" providerId="ADAL" clId="{992FC255-FDC9-45CC-A0C8-384427C27D7E}" dt="2024-04-15T15:18:43.210" v="94" actId="1076"/>
          <ac:picMkLst>
            <pc:docMk/>
            <pc:sldMk cId="2457845669" sldId="446"/>
            <ac:picMk id="19" creationId="{00000000-0000-0000-0000-000000000000}"/>
          </ac:picMkLst>
        </pc:picChg>
        <pc:cxnChg chg="mod">
          <ac:chgData name="Matthias Scholer" userId="daad25a6-aca0-4d73-8528-03a468fe8ab9" providerId="ADAL" clId="{992FC255-FDC9-45CC-A0C8-384427C27D7E}" dt="2024-04-15T15:18:43.210" v="94" actId="1076"/>
          <ac:cxnSpMkLst>
            <pc:docMk/>
            <pc:sldMk cId="2457845669" sldId="446"/>
            <ac:cxnSpMk id="7" creationId="{00000000-0000-0000-0000-000000000000}"/>
          </ac:cxnSpMkLst>
        </pc:cxnChg>
        <pc:cxnChg chg="mod">
          <ac:chgData name="Matthias Scholer" userId="daad25a6-aca0-4d73-8528-03a468fe8ab9" providerId="ADAL" clId="{992FC255-FDC9-45CC-A0C8-384427C27D7E}" dt="2024-04-15T15:18:43.210" v="94" actId="1076"/>
          <ac:cxnSpMkLst>
            <pc:docMk/>
            <pc:sldMk cId="2457845669" sldId="446"/>
            <ac:cxnSpMk id="13" creationId="{00000000-0000-0000-0000-000000000000}"/>
          </ac:cxnSpMkLst>
        </pc:cxnChg>
        <pc:cxnChg chg="mod">
          <ac:chgData name="Matthias Scholer" userId="daad25a6-aca0-4d73-8528-03a468fe8ab9" providerId="ADAL" clId="{992FC255-FDC9-45CC-A0C8-384427C27D7E}" dt="2024-04-15T15:18:43.210" v="94" actId="1076"/>
          <ac:cxnSpMkLst>
            <pc:docMk/>
            <pc:sldMk cId="2457845669" sldId="446"/>
            <ac:cxnSpMk id="14" creationId="{00000000-0000-0000-0000-000000000000}"/>
          </ac:cxnSpMkLst>
        </pc:cxnChg>
        <pc:cxnChg chg="mod">
          <ac:chgData name="Matthias Scholer" userId="daad25a6-aca0-4d73-8528-03a468fe8ab9" providerId="ADAL" clId="{992FC255-FDC9-45CC-A0C8-384427C27D7E}" dt="2024-04-15T15:18:43.210" v="94" actId="1076"/>
          <ac:cxnSpMkLst>
            <pc:docMk/>
            <pc:sldMk cId="2457845669" sldId="446"/>
            <ac:cxnSpMk id="15" creationId="{00000000-0000-0000-0000-000000000000}"/>
          </ac:cxnSpMkLst>
        </pc:cxnChg>
      </pc:sldChg>
      <pc:sldChg chg="modSp mod">
        <pc:chgData name="Matthias Scholer" userId="daad25a6-aca0-4d73-8528-03a468fe8ab9" providerId="ADAL" clId="{992FC255-FDC9-45CC-A0C8-384427C27D7E}" dt="2024-04-15T14:39:15.208" v="1" actId="403"/>
        <pc:sldMkLst>
          <pc:docMk/>
          <pc:sldMk cId="3635348943" sldId="687"/>
        </pc:sldMkLst>
        <pc:spChg chg="mod">
          <ac:chgData name="Matthias Scholer" userId="daad25a6-aca0-4d73-8528-03a468fe8ab9" providerId="ADAL" clId="{992FC255-FDC9-45CC-A0C8-384427C27D7E}" dt="2024-04-15T14:39:15.208" v="1" actId="403"/>
          <ac:spMkLst>
            <pc:docMk/>
            <pc:sldMk cId="3635348943" sldId="687"/>
            <ac:spMk id="2" creationId="{93237F25-D98A-8CD8-5448-9BE9F9CB22F9}"/>
          </ac:spMkLst>
        </pc:spChg>
      </pc:sldChg>
      <pc:sldChg chg="modSp mod">
        <pc:chgData name="Matthias Scholer" userId="daad25a6-aca0-4d73-8528-03a468fe8ab9" providerId="ADAL" clId="{992FC255-FDC9-45CC-A0C8-384427C27D7E}" dt="2024-04-15T15:24:52.833" v="147" actId="12"/>
        <pc:sldMkLst>
          <pc:docMk/>
          <pc:sldMk cId="2511637383" sldId="688"/>
        </pc:sldMkLst>
        <pc:spChg chg="mod">
          <ac:chgData name="Matthias Scholer" userId="daad25a6-aca0-4d73-8528-03a468fe8ab9" providerId="ADAL" clId="{992FC255-FDC9-45CC-A0C8-384427C27D7E}" dt="2024-04-15T15:24:52.833" v="147" actId="12"/>
          <ac:spMkLst>
            <pc:docMk/>
            <pc:sldMk cId="2511637383" sldId="688"/>
            <ac:spMk id="2" creationId="{4F3E25F7-D9E7-98B6-E215-CBF62A0650A2}"/>
          </ac:spMkLst>
        </pc:spChg>
      </pc:sldChg>
      <pc:sldChg chg="modSp mod">
        <pc:chgData name="Matthias Scholer" userId="daad25a6-aca0-4d73-8528-03a468fe8ab9" providerId="ADAL" clId="{992FC255-FDC9-45CC-A0C8-384427C27D7E}" dt="2024-04-15T15:10:47.322" v="62" actId="207"/>
        <pc:sldMkLst>
          <pc:docMk/>
          <pc:sldMk cId="771731340" sldId="693"/>
        </pc:sldMkLst>
        <pc:spChg chg="mod">
          <ac:chgData name="Matthias Scholer" userId="daad25a6-aca0-4d73-8528-03a468fe8ab9" providerId="ADAL" clId="{992FC255-FDC9-45CC-A0C8-384427C27D7E}" dt="2024-04-15T15:10:47.322" v="62" actId="207"/>
          <ac:spMkLst>
            <pc:docMk/>
            <pc:sldMk cId="771731340" sldId="693"/>
            <ac:spMk id="2" creationId="{1A3FB637-7C19-A17D-5499-A72FBD315846}"/>
          </ac:spMkLst>
        </pc:spChg>
      </pc:sldChg>
      <pc:sldChg chg="modSp mod">
        <pc:chgData name="Matthias Scholer" userId="daad25a6-aca0-4d73-8528-03a468fe8ab9" providerId="ADAL" clId="{992FC255-FDC9-45CC-A0C8-384427C27D7E}" dt="2024-04-15T14:43:07.537" v="32" actId="14100"/>
        <pc:sldMkLst>
          <pc:docMk/>
          <pc:sldMk cId="643288998" sldId="694"/>
        </pc:sldMkLst>
        <pc:spChg chg="mod">
          <ac:chgData name="Matthias Scholer" userId="daad25a6-aca0-4d73-8528-03a468fe8ab9" providerId="ADAL" clId="{992FC255-FDC9-45CC-A0C8-384427C27D7E}" dt="2024-04-15T14:42:50.271" v="29" actId="948"/>
          <ac:spMkLst>
            <pc:docMk/>
            <pc:sldMk cId="643288998" sldId="694"/>
            <ac:spMk id="7" creationId="{37032C3E-2DC1-83AA-862B-8193C62FAC5C}"/>
          </ac:spMkLst>
        </pc:spChg>
        <pc:picChg chg="mod">
          <ac:chgData name="Matthias Scholer" userId="daad25a6-aca0-4d73-8528-03a468fe8ab9" providerId="ADAL" clId="{992FC255-FDC9-45CC-A0C8-384427C27D7E}" dt="2024-04-15T14:43:07.537" v="32" actId="14100"/>
          <ac:picMkLst>
            <pc:docMk/>
            <pc:sldMk cId="643288998" sldId="694"/>
            <ac:picMk id="1026" creationId="{9915A0B1-D407-13DD-999F-2C35FCDE6A27}"/>
          </ac:picMkLst>
        </pc:picChg>
      </pc:sldChg>
      <pc:sldChg chg="addSp delSp modSp mod">
        <pc:chgData name="Matthias Scholer" userId="daad25a6-aca0-4d73-8528-03a468fe8ab9" providerId="ADAL" clId="{992FC255-FDC9-45CC-A0C8-384427C27D7E}" dt="2024-04-15T15:07:41.515" v="44" actId="478"/>
        <pc:sldMkLst>
          <pc:docMk/>
          <pc:sldMk cId="187554935" sldId="695"/>
        </pc:sldMkLst>
        <pc:spChg chg="del">
          <ac:chgData name="Matthias Scholer" userId="daad25a6-aca0-4d73-8528-03a468fe8ab9" providerId="ADAL" clId="{992FC255-FDC9-45CC-A0C8-384427C27D7E}" dt="2024-04-15T15:07:41.515" v="44" actId="478"/>
          <ac:spMkLst>
            <pc:docMk/>
            <pc:sldMk cId="187554935" sldId="695"/>
            <ac:spMk id="4" creationId="{6703181D-AC42-7332-FE3F-DE2D26899BA9}"/>
          </ac:spMkLst>
        </pc:spChg>
        <pc:spChg chg="add mod">
          <ac:chgData name="Matthias Scholer" userId="daad25a6-aca0-4d73-8528-03a468fe8ab9" providerId="ADAL" clId="{992FC255-FDC9-45CC-A0C8-384427C27D7E}" dt="2024-04-15T15:07:25.523" v="40"/>
          <ac:spMkLst>
            <pc:docMk/>
            <pc:sldMk cId="187554935" sldId="695"/>
            <ac:spMk id="6" creationId="{8DA92837-3108-05B6-17F1-38672A179DD4}"/>
          </ac:spMkLst>
        </pc:spChg>
        <pc:picChg chg="mod ord">
          <ac:chgData name="Matthias Scholer" userId="daad25a6-aca0-4d73-8528-03a468fe8ab9" providerId="ADAL" clId="{992FC255-FDC9-45CC-A0C8-384427C27D7E}" dt="2024-04-15T15:07:39.395" v="43" actId="1076"/>
          <ac:picMkLst>
            <pc:docMk/>
            <pc:sldMk cId="187554935" sldId="695"/>
            <ac:picMk id="7" creationId="{7B127D8E-EA7E-87D9-F959-48E8863DEE04}"/>
          </ac:picMkLst>
        </pc:picChg>
      </pc:sldChg>
      <pc:sldChg chg="modSp mod">
        <pc:chgData name="Matthias Scholer" userId="daad25a6-aca0-4d73-8528-03a468fe8ab9" providerId="ADAL" clId="{992FC255-FDC9-45CC-A0C8-384427C27D7E}" dt="2024-04-15T14:40:19.866" v="4" actId="20577"/>
        <pc:sldMkLst>
          <pc:docMk/>
          <pc:sldMk cId="1598037602" sldId="696"/>
        </pc:sldMkLst>
        <pc:spChg chg="mod">
          <ac:chgData name="Matthias Scholer" userId="daad25a6-aca0-4d73-8528-03a468fe8ab9" providerId="ADAL" clId="{992FC255-FDC9-45CC-A0C8-384427C27D7E}" dt="2024-04-15T14:40:19.866" v="4" actId="20577"/>
          <ac:spMkLst>
            <pc:docMk/>
            <pc:sldMk cId="1598037602" sldId="696"/>
            <ac:spMk id="2" creationId="{A04BA0F2-3DAE-59FA-E8F0-CED3AF915B48}"/>
          </ac:spMkLst>
        </pc:spChg>
      </pc:sldChg>
      <pc:sldChg chg="addSp modSp mod">
        <pc:chgData name="Matthias Scholer" userId="daad25a6-aca0-4d73-8528-03a468fe8ab9" providerId="ADAL" clId="{992FC255-FDC9-45CC-A0C8-384427C27D7E}" dt="2024-04-15T15:12:22.779" v="63" actId="14100"/>
        <pc:sldMkLst>
          <pc:docMk/>
          <pc:sldMk cId="2283720192" sldId="698"/>
        </pc:sldMkLst>
        <pc:spChg chg="add mod">
          <ac:chgData name="Matthias Scholer" userId="daad25a6-aca0-4d73-8528-03a468fe8ab9" providerId="ADAL" clId="{992FC255-FDC9-45CC-A0C8-384427C27D7E}" dt="2024-04-15T15:07:15.663" v="38" actId="207"/>
          <ac:spMkLst>
            <pc:docMk/>
            <pc:sldMk cId="2283720192" sldId="698"/>
            <ac:spMk id="2" creationId="{D354A09D-6ED8-EEF3-4234-A6156DA7D4D7}"/>
          </ac:spMkLst>
        </pc:spChg>
        <pc:picChg chg="mod ord">
          <ac:chgData name="Matthias Scholer" userId="daad25a6-aca0-4d73-8528-03a468fe8ab9" providerId="ADAL" clId="{992FC255-FDC9-45CC-A0C8-384427C27D7E}" dt="2024-04-15T15:12:22.779" v="63" actId="14100"/>
          <ac:picMkLst>
            <pc:docMk/>
            <pc:sldMk cId="2283720192" sldId="698"/>
            <ac:picMk id="6" creationId="{A0CE390D-CC8B-1EDE-0B29-1AF349617676}"/>
          </ac:picMkLst>
        </pc:picChg>
      </pc:sldChg>
      <pc:sldChg chg="modSp mod">
        <pc:chgData name="Matthias Scholer" userId="daad25a6-aca0-4d73-8528-03a468fe8ab9" providerId="ADAL" clId="{992FC255-FDC9-45CC-A0C8-384427C27D7E}" dt="2024-04-15T15:08:43.183" v="50" actId="5793"/>
        <pc:sldMkLst>
          <pc:docMk/>
          <pc:sldMk cId="1877148032" sldId="699"/>
        </pc:sldMkLst>
        <pc:spChg chg="mod">
          <ac:chgData name="Matthias Scholer" userId="daad25a6-aca0-4d73-8528-03a468fe8ab9" providerId="ADAL" clId="{992FC255-FDC9-45CC-A0C8-384427C27D7E}" dt="2024-04-15T15:08:43.183" v="50" actId="5793"/>
          <ac:spMkLst>
            <pc:docMk/>
            <pc:sldMk cId="1877148032" sldId="699"/>
            <ac:spMk id="2" creationId="{5F59BFE5-BE57-6E66-8535-BA45E08CF79A}"/>
          </ac:spMkLst>
        </pc:spChg>
      </pc:sldChg>
      <pc:sldChg chg="modSp mod">
        <pc:chgData name="Matthias Scholer" userId="daad25a6-aca0-4d73-8528-03a468fe8ab9" providerId="ADAL" clId="{992FC255-FDC9-45CC-A0C8-384427C27D7E}" dt="2024-04-15T15:29:22.800" v="174" actId="113"/>
        <pc:sldMkLst>
          <pc:docMk/>
          <pc:sldMk cId="3101254839" sldId="700"/>
        </pc:sldMkLst>
        <pc:spChg chg="mod">
          <ac:chgData name="Matthias Scholer" userId="daad25a6-aca0-4d73-8528-03a468fe8ab9" providerId="ADAL" clId="{992FC255-FDC9-45CC-A0C8-384427C27D7E}" dt="2024-04-15T15:29:22.800" v="174" actId="113"/>
          <ac:spMkLst>
            <pc:docMk/>
            <pc:sldMk cId="3101254839" sldId="700"/>
            <ac:spMk id="2" creationId="{E6368700-CF52-3320-5859-BC93A3D933E6}"/>
          </ac:spMkLst>
        </pc:spChg>
      </pc:sldChg>
      <pc:sldChg chg="modSp mod">
        <pc:chgData name="Matthias Scholer" userId="daad25a6-aca0-4d73-8528-03a468fe8ab9" providerId="ADAL" clId="{992FC255-FDC9-45CC-A0C8-384427C27D7E}" dt="2024-04-15T15:09:53.411" v="54" actId="1036"/>
        <pc:sldMkLst>
          <pc:docMk/>
          <pc:sldMk cId="106265944" sldId="701"/>
        </pc:sldMkLst>
        <pc:spChg chg="mod">
          <ac:chgData name="Matthias Scholer" userId="daad25a6-aca0-4d73-8528-03a468fe8ab9" providerId="ADAL" clId="{992FC255-FDC9-45CC-A0C8-384427C27D7E}" dt="2024-04-15T15:09:49.112" v="53" actId="14100"/>
          <ac:spMkLst>
            <pc:docMk/>
            <pc:sldMk cId="106265944" sldId="701"/>
            <ac:spMk id="2" creationId="{651455FB-B7F8-626E-E8EA-1C3F3E189DC0}"/>
          </ac:spMkLst>
        </pc:spChg>
        <pc:picChg chg="mod">
          <ac:chgData name="Matthias Scholer" userId="daad25a6-aca0-4d73-8528-03a468fe8ab9" providerId="ADAL" clId="{992FC255-FDC9-45CC-A0C8-384427C27D7E}" dt="2024-04-15T15:09:53.411" v="54" actId="1036"/>
          <ac:picMkLst>
            <pc:docMk/>
            <pc:sldMk cId="106265944" sldId="701"/>
            <ac:picMk id="6" creationId="{110BB298-02AB-D8C1-072E-CB3390FA9049}"/>
          </ac:picMkLst>
        </pc:picChg>
      </pc:sldChg>
      <pc:sldChg chg="addSp modSp mod">
        <pc:chgData name="Matthias Scholer" userId="daad25a6-aca0-4d73-8528-03a468fe8ab9" providerId="ADAL" clId="{992FC255-FDC9-45CC-A0C8-384427C27D7E}" dt="2024-04-15T15:30:32.371" v="180" actId="113"/>
        <pc:sldMkLst>
          <pc:docMk/>
          <pc:sldMk cId="1060674928" sldId="703"/>
        </pc:sldMkLst>
        <pc:spChg chg="mod">
          <ac:chgData name="Matthias Scholer" userId="daad25a6-aca0-4d73-8528-03a468fe8ab9" providerId="ADAL" clId="{992FC255-FDC9-45CC-A0C8-384427C27D7E}" dt="2024-04-15T15:30:32.371" v="180" actId="113"/>
          <ac:spMkLst>
            <pc:docMk/>
            <pc:sldMk cId="1060674928" sldId="703"/>
            <ac:spMk id="2" creationId="{95705966-833C-F70C-6E35-D74067BAF481}"/>
          </ac:spMkLst>
        </pc:spChg>
        <pc:spChg chg="add mod">
          <ac:chgData name="Matthias Scholer" userId="daad25a6-aca0-4d73-8528-03a468fe8ab9" providerId="ADAL" clId="{992FC255-FDC9-45CC-A0C8-384427C27D7E}" dt="2024-04-15T15:18:30.067" v="91"/>
          <ac:spMkLst>
            <pc:docMk/>
            <pc:sldMk cId="1060674928" sldId="703"/>
            <ac:spMk id="8" creationId="{00B8FC31-6871-E94D-0657-75C529EE77C1}"/>
          </ac:spMkLst>
        </pc:spChg>
        <pc:picChg chg="mod">
          <ac:chgData name="Matthias Scholer" userId="daad25a6-aca0-4d73-8528-03a468fe8ab9" providerId="ADAL" clId="{992FC255-FDC9-45CC-A0C8-384427C27D7E}" dt="2024-04-15T15:29:55.198" v="177" actId="1076"/>
          <ac:picMkLst>
            <pc:docMk/>
            <pc:sldMk cId="1060674928" sldId="703"/>
            <ac:picMk id="6" creationId="{42A4849A-FBD0-806F-520C-F9E4634FDDA5}"/>
          </ac:picMkLst>
        </pc:picChg>
        <pc:picChg chg="mod modCrop">
          <ac:chgData name="Matthias Scholer" userId="daad25a6-aca0-4d73-8528-03a468fe8ab9" providerId="ADAL" clId="{992FC255-FDC9-45CC-A0C8-384427C27D7E}" dt="2024-04-15T15:29:52.312" v="176" actId="732"/>
          <ac:picMkLst>
            <pc:docMk/>
            <pc:sldMk cId="1060674928" sldId="703"/>
            <ac:picMk id="7" creationId="{9C99B865-0F9B-D000-A39F-F42E9F816060}"/>
          </ac:picMkLst>
        </pc:picChg>
      </pc:sldChg>
      <pc:sldChg chg="modSp mod">
        <pc:chgData name="Matthias Scholer" userId="daad25a6-aca0-4d73-8528-03a468fe8ab9" providerId="ADAL" clId="{992FC255-FDC9-45CC-A0C8-384427C27D7E}" dt="2024-04-15T15:13:51.289" v="71" actId="948"/>
        <pc:sldMkLst>
          <pc:docMk/>
          <pc:sldMk cId="3692745671" sldId="706"/>
        </pc:sldMkLst>
        <pc:spChg chg="mod">
          <ac:chgData name="Matthias Scholer" userId="daad25a6-aca0-4d73-8528-03a468fe8ab9" providerId="ADAL" clId="{992FC255-FDC9-45CC-A0C8-384427C27D7E}" dt="2024-04-15T15:13:51.289" v="71" actId="948"/>
          <ac:spMkLst>
            <pc:docMk/>
            <pc:sldMk cId="3692745671" sldId="706"/>
            <ac:spMk id="3" creationId="{6E745F4F-964B-828D-4E8E-39E6D9E13540}"/>
          </ac:spMkLst>
        </pc:spChg>
      </pc:sldChg>
      <pc:sldChg chg="ord">
        <pc:chgData name="Matthias Scholer" userId="daad25a6-aca0-4d73-8528-03a468fe8ab9" providerId="ADAL" clId="{992FC255-FDC9-45CC-A0C8-384427C27D7E}" dt="2024-04-15T15:14:40.942" v="74"/>
        <pc:sldMkLst>
          <pc:docMk/>
          <pc:sldMk cId="2515356512" sldId="708"/>
        </pc:sldMkLst>
      </pc:sldChg>
      <pc:sldChg chg="ord">
        <pc:chgData name="Matthias Scholer" userId="daad25a6-aca0-4d73-8528-03a468fe8ab9" providerId="ADAL" clId="{992FC255-FDC9-45CC-A0C8-384427C27D7E}" dt="2024-04-15T15:14:52.591" v="76"/>
        <pc:sldMkLst>
          <pc:docMk/>
          <pc:sldMk cId="541133264" sldId="709"/>
        </pc:sldMkLst>
      </pc:sldChg>
    </pc:docChg>
  </pc:docChgLst>
  <pc:docChgLst>
    <pc:chgData name="Matthias Scholer" userId="daad25a6-aca0-4d73-8528-03a468fe8ab9" providerId="ADAL" clId="{0E24EE59-50EF-4451-887A-4BAF1E7DA04C}"/>
    <pc:docChg chg="addSld delSld modSld">
      <pc:chgData name="Matthias Scholer" userId="daad25a6-aca0-4d73-8528-03a468fe8ab9" providerId="ADAL" clId="{0E24EE59-50EF-4451-887A-4BAF1E7DA04C}" dt="2023-09-27T13:01:55.766" v="29" actId="47"/>
      <pc:docMkLst>
        <pc:docMk/>
      </pc:docMkLst>
      <pc:sldChg chg="del">
        <pc:chgData name="Matthias Scholer" userId="daad25a6-aca0-4d73-8528-03a468fe8ab9" providerId="ADAL" clId="{0E24EE59-50EF-4451-887A-4BAF1E7DA04C}" dt="2023-09-27T13:01:55.766" v="29" actId="47"/>
        <pc:sldMkLst>
          <pc:docMk/>
          <pc:sldMk cId="2677788801" sldId="283"/>
        </pc:sldMkLst>
      </pc:sldChg>
      <pc:sldChg chg="modSp mod">
        <pc:chgData name="Matthias Scholer" userId="daad25a6-aca0-4d73-8528-03a468fe8ab9" providerId="ADAL" clId="{0E24EE59-50EF-4451-887A-4BAF1E7DA04C}" dt="2023-09-27T12:56:03.446" v="24" actId="1036"/>
        <pc:sldMkLst>
          <pc:docMk/>
          <pc:sldMk cId="1904681516" sldId="296"/>
        </pc:sldMkLst>
        <pc:spChg chg="mod">
          <ac:chgData name="Matthias Scholer" userId="daad25a6-aca0-4d73-8528-03a468fe8ab9" providerId="ADAL" clId="{0E24EE59-50EF-4451-887A-4BAF1E7DA04C}" dt="2023-09-27T12:55:58.214" v="12" actId="948"/>
          <ac:spMkLst>
            <pc:docMk/>
            <pc:sldMk cId="1904681516" sldId="296"/>
            <ac:spMk id="5" creationId="{505E36E0-70AE-334E-9649-AEEC247B3A21}"/>
          </ac:spMkLst>
        </pc:spChg>
        <pc:spChg chg="mod">
          <ac:chgData name="Matthias Scholer" userId="daad25a6-aca0-4d73-8528-03a468fe8ab9" providerId="ADAL" clId="{0E24EE59-50EF-4451-887A-4BAF1E7DA04C}" dt="2023-09-27T12:56:03.446" v="24" actId="1036"/>
          <ac:spMkLst>
            <pc:docMk/>
            <pc:sldMk cId="1904681516" sldId="296"/>
            <ac:spMk id="14" creationId="{00000000-0000-0000-0000-000000000000}"/>
          </ac:spMkLst>
        </pc:spChg>
      </pc:sldChg>
      <pc:sldChg chg="modSp mod">
        <pc:chgData name="Matthias Scholer" userId="daad25a6-aca0-4d73-8528-03a468fe8ab9" providerId="ADAL" clId="{0E24EE59-50EF-4451-887A-4BAF1E7DA04C}" dt="2023-09-27T13:01:33.585" v="26" actId="5793"/>
        <pc:sldMkLst>
          <pc:docMk/>
          <pc:sldMk cId="2670209583" sldId="308"/>
        </pc:sldMkLst>
        <pc:spChg chg="mod">
          <ac:chgData name="Matthias Scholer" userId="daad25a6-aca0-4d73-8528-03a468fe8ab9" providerId="ADAL" clId="{0E24EE59-50EF-4451-887A-4BAF1E7DA04C}" dt="2023-09-27T13:01:33.585" v="26" actId="5793"/>
          <ac:spMkLst>
            <pc:docMk/>
            <pc:sldMk cId="2670209583" sldId="308"/>
            <ac:spMk id="2" creationId="{00000000-0000-0000-0000-000000000000}"/>
          </ac:spMkLst>
        </pc:spChg>
      </pc:sldChg>
      <pc:sldChg chg="modSp mod">
        <pc:chgData name="Matthias Scholer" userId="daad25a6-aca0-4d73-8528-03a468fe8ab9" providerId="ADAL" clId="{0E24EE59-50EF-4451-887A-4BAF1E7DA04C}" dt="2023-09-27T12:55:46.605" v="10" actId="1076"/>
        <pc:sldMkLst>
          <pc:docMk/>
          <pc:sldMk cId="364847650" sldId="320"/>
        </pc:sldMkLst>
        <pc:spChg chg="mod">
          <ac:chgData name="Matthias Scholer" userId="daad25a6-aca0-4d73-8528-03a468fe8ab9" providerId="ADAL" clId="{0E24EE59-50EF-4451-887A-4BAF1E7DA04C}" dt="2023-09-27T12:55:42.493" v="9" actId="948"/>
          <ac:spMkLst>
            <pc:docMk/>
            <pc:sldMk cId="364847650" sldId="320"/>
            <ac:spMk id="4" creationId="{B954E5BE-D005-4B49-9142-456C5A94E7DF}"/>
          </ac:spMkLst>
        </pc:spChg>
        <pc:spChg chg="mod">
          <ac:chgData name="Matthias Scholer" userId="daad25a6-aca0-4d73-8528-03a468fe8ab9" providerId="ADAL" clId="{0E24EE59-50EF-4451-887A-4BAF1E7DA04C}" dt="2023-09-27T12:55:46.605" v="10" actId="1076"/>
          <ac:spMkLst>
            <pc:docMk/>
            <pc:sldMk cId="364847650" sldId="320"/>
            <ac:spMk id="14" creationId="{00000000-0000-0000-0000-000000000000}"/>
          </ac:spMkLst>
        </pc:spChg>
      </pc:sldChg>
      <pc:sldChg chg="modSp mod">
        <pc:chgData name="Matthias Scholer" userId="daad25a6-aca0-4d73-8528-03a468fe8ab9" providerId="ADAL" clId="{0E24EE59-50EF-4451-887A-4BAF1E7DA04C}" dt="2023-09-27T12:55:33.101" v="7" actId="255"/>
        <pc:sldMkLst>
          <pc:docMk/>
          <pc:sldMk cId="3795163419" sldId="322"/>
        </pc:sldMkLst>
        <pc:spChg chg="mod">
          <ac:chgData name="Matthias Scholer" userId="daad25a6-aca0-4d73-8528-03a468fe8ab9" providerId="ADAL" clId="{0E24EE59-50EF-4451-887A-4BAF1E7DA04C}" dt="2023-09-27T12:55:33.101" v="7" actId="255"/>
          <ac:spMkLst>
            <pc:docMk/>
            <pc:sldMk cId="3795163419" sldId="322"/>
            <ac:spMk id="6" creationId="{E4084187-740B-A54D-98D2-4E53300AAF3F}"/>
          </ac:spMkLst>
        </pc:spChg>
      </pc:sldChg>
      <pc:sldChg chg="del">
        <pc:chgData name="Matthias Scholer" userId="daad25a6-aca0-4d73-8528-03a468fe8ab9" providerId="ADAL" clId="{0E24EE59-50EF-4451-887A-4BAF1E7DA04C}" dt="2023-09-27T13:01:55.766" v="29" actId="47"/>
        <pc:sldMkLst>
          <pc:docMk/>
          <pc:sldMk cId="1909289698" sldId="330"/>
        </pc:sldMkLst>
      </pc:sldChg>
      <pc:sldChg chg="del">
        <pc:chgData name="Matthias Scholer" userId="daad25a6-aca0-4d73-8528-03a468fe8ab9" providerId="ADAL" clId="{0E24EE59-50EF-4451-887A-4BAF1E7DA04C}" dt="2023-09-27T13:01:55.766" v="29" actId="47"/>
        <pc:sldMkLst>
          <pc:docMk/>
          <pc:sldMk cId="2531311644" sldId="332"/>
        </pc:sldMkLst>
      </pc:sldChg>
      <pc:sldChg chg="del">
        <pc:chgData name="Matthias Scholer" userId="daad25a6-aca0-4d73-8528-03a468fe8ab9" providerId="ADAL" clId="{0E24EE59-50EF-4451-887A-4BAF1E7DA04C}" dt="2023-09-27T13:01:55.766" v="29" actId="47"/>
        <pc:sldMkLst>
          <pc:docMk/>
          <pc:sldMk cId="2822144545" sldId="333"/>
        </pc:sldMkLst>
      </pc:sldChg>
      <pc:sldChg chg="del">
        <pc:chgData name="Matthias Scholer" userId="daad25a6-aca0-4d73-8528-03a468fe8ab9" providerId="ADAL" clId="{0E24EE59-50EF-4451-887A-4BAF1E7DA04C}" dt="2023-09-27T13:01:55.766" v="29" actId="47"/>
        <pc:sldMkLst>
          <pc:docMk/>
          <pc:sldMk cId="274054747" sldId="336"/>
        </pc:sldMkLst>
      </pc:sldChg>
      <pc:sldChg chg="del">
        <pc:chgData name="Matthias Scholer" userId="daad25a6-aca0-4d73-8528-03a468fe8ab9" providerId="ADAL" clId="{0E24EE59-50EF-4451-887A-4BAF1E7DA04C}" dt="2023-09-27T13:01:55.766" v="29" actId="47"/>
        <pc:sldMkLst>
          <pc:docMk/>
          <pc:sldMk cId="2331414369" sldId="337"/>
        </pc:sldMkLst>
      </pc:sldChg>
      <pc:sldChg chg="del">
        <pc:chgData name="Matthias Scholer" userId="daad25a6-aca0-4d73-8528-03a468fe8ab9" providerId="ADAL" clId="{0E24EE59-50EF-4451-887A-4BAF1E7DA04C}" dt="2023-09-27T13:01:55.766" v="29" actId="47"/>
        <pc:sldMkLst>
          <pc:docMk/>
          <pc:sldMk cId="2641351038" sldId="338"/>
        </pc:sldMkLst>
      </pc:sldChg>
      <pc:sldChg chg="del">
        <pc:chgData name="Matthias Scholer" userId="daad25a6-aca0-4d73-8528-03a468fe8ab9" providerId="ADAL" clId="{0E24EE59-50EF-4451-887A-4BAF1E7DA04C}" dt="2023-09-27T13:01:55.766" v="29" actId="47"/>
        <pc:sldMkLst>
          <pc:docMk/>
          <pc:sldMk cId="1688502360" sldId="339"/>
        </pc:sldMkLst>
      </pc:sldChg>
      <pc:sldChg chg="del">
        <pc:chgData name="Matthias Scholer" userId="daad25a6-aca0-4d73-8528-03a468fe8ab9" providerId="ADAL" clId="{0E24EE59-50EF-4451-887A-4BAF1E7DA04C}" dt="2023-09-27T13:01:55.766" v="29" actId="47"/>
        <pc:sldMkLst>
          <pc:docMk/>
          <pc:sldMk cId="2653858341" sldId="343"/>
        </pc:sldMkLst>
      </pc:sldChg>
      <pc:sldChg chg="del">
        <pc:chgData name="Matthias Scholer" userId="daad25a6-aca0-4d73-8528-03a468fe8ab9" providerId="ADAL" clId="{0E24EE59-50EF-4451-887A-4BAF1E7DA04C}" dt="2023-09-27T13:01:55.766" v="29" actId="47"/>
        <pc:sldMkLst>
          <pc:docMk/>
          <pc:sldMk cId="1261633461" sldId="344"/>
        </pc:sldMkLst>
      </pc:sldChg>
      <pc:sldChg chg="del">
        <pc:chgData name="Matthias Scholer" userId="daad25a6-aca0-4d73-8528-03a468fe8ab9" providerId="ADAL" clId="{0E24EE59-50EF-4451-887A-4BAF1E7DA04C}" dt="2023-09-27T13:01:55.766" v="29" actId="47"/>
        <pc:sldMkLst>
          <pc:docMk/>
          <pc:sldMk cId="180694982" sldId="364"/>
        </pc:sldMkLst>
      </pc:sldChg>
      <pc:sldChg chg="del">
        <pc:chgData name="Matthias Scholer" userId="daad25a6-aca0-4d73-8528-03a468fe8ab9" providerId="ADAL" clId="{0E24EE59-50EF-4451-887A-4BAF1E7DA04C}" dt="2023-09-27T13:01:55.766" v="29" actId="47"/>
        <pc:sldMkLst>
          <pc:docMk/>
          <pc:sldMk cId="4257713775" sldId="369"/>
        </pc:sldMkLst>
      </pc:sldChg>
      <pc:sldChg chg="del">
        <pc:chgData name="Matthias Scholer" userId="daad25a6-aca0-4d73-8528-03a468fe8ab9" providerId="ADAL" clId="{0E24EE59-50EF-4451-887A-4BAF1E7DA04C}" dt="2023-09-27T13:01:55.766" v="29" actId="47"/>
        <pc:sldMkLst>
          <pc:docMk/>
          <pc:sldMk cId="357538020" sldId="370"/>
        </pc:sldMkLst>
      </pc:sldChg>
      <pc:sldChg chg="modSp mod">
        <pc:chgData name="Matthias Scholer" userId="daad25a6-aca0-4d73-8528-03a468fe8ab9" providerId="ADAL" clId="{0E24EE59-50EF-4451-887A-4BAF1E7DA04C}" dt="2023-09-27T12:54:54.231" v="0" actId="948"/>
        <pc:sldMkLst>
          <pc:docMk/>
          <pc:sldMk cId="2459759268" sldId="394"/>
        </pc:sldMkLst>
        <pc:spChg chg="mod">
          <ac:chgData name="Matthias Scholer" userId="daad25a6-aca0-4d73-8528-03a468fe8ab9" providerId="ADAL" clId="{0E24EE59-50EF-4451-887A-4BAF1E7DA04C}" dt="2023-09-27T12:54:54.231" v="0" actId="948"/>
          <ac:spMkLst>
            <pc:docMk/>
            <pc:sldMk cId="2459759268" sldId="394"/>
            <ac:spMk id="40962" creationId="{00000000-0000-0000-0000-000000000000}"/>
          </ac:spMkLst>
        </pc:spChg>
      </pc:sldChg>
      <pc:sldChg chg="del">
        <pc:chgData name="Matthias Scholer" userId="daad25a6-aca0-4d73-8528-03a468fe8ab9" providerId="ADAL" clId="{0E24EE59-50EF-4451-887A-4BAF1E7DA04C}" dt="2023-09-27T13:01:55.766" v="29" actId="47"/>
        <pc:sldMkLst>
          <pc:docMk/>
          <pc:sldMk cId="3108728439" sldId="426"/>
        </pc:sldMkLst>
      </pc:sldChg>
      <pc:sldChg chg="del">
        <pc:chgData name="Matthias Scholer" userId="daad25a6-aca0-4d73-8528-03a468fe8ab9" providerId="ADAL" clId="{0E24EE59-50EF-4451-887A-4BAF1E7DA04C}" dt="2023-09-27T13:01:55.766" v="29" actId="47"/>
        <pc:sldMkLst>
          <pc:docMk/>
          <pc:sldMk cId="1360345781" sldId="428"/>
        </pc:sldMkLst>
      </pc:sldChg>
      <pc:sldChg chg="modSp mod">
        <pc:chgData name="Matthias Scholer" userId="daad25a6-aca0-4d73-8528-03a468fe8ab9" providerId="ADAL" clId="{0E24EE59-50EF-4451-887A-4BAF1E7DA04C}" dt="2023-09-27T13:01:39.506" v="27" actId="20577"/>
        <pc:sldMkLst>
          <pc:docMk/>
          <pc:sldMk cId="3538500990" sldId="429"/>
        </pc:sldMkLst>
        <pc:spChg chg="mod">
          <ac:chgData name="Matthias Scholer" userId="daad25a6-aca0-4d73-8528-03a468fe8ab9" providerId="ADAL" clId="{0E24EE59-50EF-4451-887A-4BAF1E7DA04C}" dt="2023-09-27T13:01:39.506" v="27" actId="20577"/>
          <ac:spMkLst>
            <pc:docMk/>
            <pc:sldMk cId="3538500990" sldId="429"/>
            <ac:spMk id="2" creationId="{00000000-0000-0000-0000-000000000000}"/>
          </ac:spMkLst>
        </pc:spChg>
      </pc:sldChg>
      <pc:sldChg chg="modSp mod">
        <pc:chgData name="Matthias Scholer" userId="daad25a6-aca0-4d73-8528-03a468fe8ab9" providerId="ADAL" clId="{0E24EE59-50EF-4451-887A-4BAF1E7DA04C}" dt="2023-09-27T13:01:43.346" v="28" actId="20577"/>
        <pc:sldMkLst>
          <pc:docMk/>
          <pc:sldMk cId="4200854970" sldId="430"/>
        </pc:sldMkLst>
        <pc:spChg chg="mod">
          <ac:chgData name="Matthias Scholer" userId="daad25a6-aca0-4d73-8528-03a468fe8ab9" providerId="ADAL" clId="{0E24EE59-50EF-4451-887A-4BAF1E7DA04C}" dt="2023-09-27T13:01:43.346" v="28" actId="20577"/>
          <ac:spMkLst>
            <pc:docMk/>
            <pc:sldMk cId="4200854970" sldId="430"/>
            <ac:spMk id="2" creationId="{00000000-0000-0000-0000-000000000000}"/>
          </ac:spMkLst>
        </pc:spChg>
      </pc:sldChg>
      <pc:sldChg chg="del">
        <pc:chgData name="Matthias Scholer" userId="daad25a6-aca0-4d73-8528-03a468fe8ab9" providerId="ADAL" clId="{0E24EE59-50EF-4451-887A-4BAF1E7DA04C}" dt="2023-09-27T13:01:55.766" v="29" actId="47"/>
        <pc:sldMkLst>
          <pc:docMk/>
          <pc:sldMk cId="832023091" sldId="431"/>
        </pc:sldMkLst>
      </pc:sldChg>
      <pc:sldChg chg="del">
        <pc:chgData name="Matthias Scholer" userId="daad25a6-aca0-4d73-8528-03a468fe8ab9" providerId="ADAL" clId="{0E24EE59-50EF-4451-887A-4BAF1E7DA04C}" dt="2023-09-27T13:01:55.766" v="29" actId="47"/>
        <pc:sldMkLst>
          <pc:docMk/>
          <pc:sldMk cId="2651662527" sldId="432"/>
        </pc:sldMkLst>
      </pc:sldChg>
      <pc:sldChg chg="del">
        <pc:chgData name="Matthias Scholer" userId="daad25a6-aca0-4d73-8528-03a468fe8ab9" providerId="ADAL" clId="{0E24EE59-50EF-4451-887A-4BAF1E7DA04C}" dt="2023-09-27T13:01:55.766" v="29" actId="47"/>
        <pc:sldMkLst>
          <pc:docMk/>
          <pc:sldMk cId="1166608638" sldId="434"/>
        </pc:sldMkLst>
      </pc:sldChg>
      <pc:sldChg chg="addSp delSp modSp mod">
        <pc:chgData name="Matthias Scholer" userId="daad25a6-aca0-4d73-8528-03a468fe8ab9" providerId="ADAL" clId="{0E24EE59-50EF-4451-887A-4BAF1E7DA04C}" dt="2023-09-27T12:55:27.116" v="6" actId="255"/>
        <pc:sldMkLst>
          <pc:docMk/>
          <pc:sldMk cId="2017123862" sldId="436"/>
        </pc:sldMkLst>
        <pc:spChg chg="add del mod">
          <ac:chgData name="Matthias Scholer" userId="daad25a6-aca0-4d73-8528-03a468fe8ab9" providerId="ADAL" clId="{0E24EE59-50EF-4451-887A-4BAF1E7DA04C}" dt="2023-09-27T12:55:17.518" v="4"/>
          <ac:spMkLst>
            <pc:docMk/>
            <pc:sldMk cId="2017123862" sldId="436"/>
            <ac:spMk id="2" creationId="{C62B0587-B47E-54D8-2E04-50BE39EECE6F}"/>
          </ac:spMkLst>
        </pc:spChg>
        <pc:spChg chg="mod">
          <ac:chgData name="Matthias Scholer" userId="daad25a6-aca0-4d73-8528-03a468fe8ab9" providerId="ADAL" clId="{0E24EE59-50EF-4451-887A-4BAF1E7DA04C}" dt="2023-09-27T12:55:27.116" v="6" actId="255"/>
          <ac:spMkLst>
            <pc:docMk/>
            <pc:sldMk cId="2017123862" sldId="436"/>
            <ac:spMk id="6" creationId="{E4084187-740B-A54D-98D2-4E53300AAF3F}"/>
          </ac:spMkLst>
        </pc:spChg>
      </pc:sldChg>
      <pc:sldChg chg="modSp new del mod">
        <pc:chgData name="Matthias Scholer" userId="daad25a6-aca0-4d73-8528-03a468fe8ab9" providerId="ADAL" clId="{0E24EE59-50EF-4451-887A-4BAF1E7DA04C}" dt="2023-09-27T12:55:21.593" v="5" actId="47"/>
        <pc:sldMkLst>
          <pc:docMk/>
          <pc:sldMk cId="3774298473" sldId="437"/>
        </pc:sldMkLst>
        <pc:spChg chg="mod">
          <ac:chgData name="Matthias Scholer" userId="daad25a6-aca0-4d73-8528-03a468fe8ab9" providerId="ADAL" clId="{0E24EE59-50EF-4451-887A-4BAF1E7DA04C}" dt="2023-09-27T12:55:09.047" v="2" actId="20577"/>
          <ac:spMkLst>
            <pc:docMk/>
            <pc:sldMk cId="3774298473" sldId="437"/>
            <ac:spMk id="2" creationId="{80C2ED89-0FFD-495E-2B83-329AFAFD13B2}"/>
          </ac:spMkLst>
        </pc:spChg>
      </pc:sldChg>
    </pc:docChg>
  </pc:docChgLst>
  <pc:docChgLst>
    <pc:chgData name="Matthias Scholer" userId="daad25a6-aca0-4d73-8528-03a468fe8ab9" providerId="ADAL" clId="{3B34E034-1201-4DAD-AB81-5A1431BD0187}"/>
    <pc:docChg chg="undo custSel addSld delSld modSld sldOrd">
      <pc:chgData name="Matthias Scholer" userId="daad25a6-aca0-4d73-8528-03a468fe8ab9" providerId="ADAL" clId="{3B34E034-1201-4DAD-AB81-5A1431BD0187}" dt="2023-08-15T07:16:03.557" v="877" actId="14100"/>
      <pc:docMkLst>
        <pc:docMk/>
      </pc:docMkLst>
      <pc:sldChg chg="modSp mod">
        <pc:chgData name="Matthias Scholer" userId="daad25a6-aca0-4d73-8528-03a468fe8ab9" providerId="ADAL" clId="{3B34E034-1201-4DAD-AB81-5A1431BD0187}" dt="2023-08-15T07:00:20.784" v="724"/>
        <pc:sldMkLst>
          <pc:docMk/>
          <pc:sldMk cId="1904681516" sldId="296"/>
        </pc:sldMkLst>
        <pc:spChg chg="mod">
          <ac:chgData name="Matthias Scholer" userId="daad25a6-aca0-4d73-8528-03a468fe8ab9" providerId="ADAL" clId="{3B34E034-1201-4DAD-AB81-5A1431BD0187}" dt="2023-08-15T07:00:20.784" v="724"/>
          <ac:spMkLst>
            <pc:docMk/>
            <pc:sldMk cId="1904681516" sldId="296"/>
            <ac:spMk id="5" creationId="{505E36E0-70AE-334E-9649-AEEC247B3A21}"/>
          </ac:spMkLst>
        </pc:spChg>
        <pc:spChg chg="mod">
          <ac:chgData name="Matthias Scholer" userId="daad25a6-aca0-4d73-8528-03a468fe8ab9" providerId="ADAL" clId="{3B34E034-1201-4DAD-AB81-5A1431BD0187}" dt="2023-08-15T06:58:40.018" v="653" actId="12"/>
          <ac:spMkLst>
            <pc:docMk/>
            <pc:sldMk cId="1904681516" sldId="296"/>
            <ac:spMk id="14" creationId="{00000000-0000-0000-0000-000000000000}"/>
          </ac:spMkLst>
        </pc:spChg>
      </pc:sldChg>
      <pc:sldChg chg="modSp mod">
        <pc:chgData name="Matthias Scholer" userId="daad25a6-aca0-4d73-8528-03a468fe8ab9" providerId="ADAL" clId="{3B34E034-1201-4DAD-AB81-5A1431BD0187}" dt="2023-08-15T05:55:25.871" v="93" actId="1035"/>
        <pc:sldMkLst>
          <pc:docMk/>
          <pc:sldMk cId="1301656241" sldId="299"/>
        </pc:sldMkLst>
        <pc:spChg chg="mod">
          <ac:chgData name="Matthias Scholer" userId="daad25a6-aca0-4d73-8528-03a468fe8ab9" providerId="ADAL" clId="{3B34E034-1201-4DAD-AB81-5A1431BD0187}" dt="2023-08-15T05:55:25.871" v="93" actId="1035"/>
          <ac:spMkLst>
            <pc:docMk/>
            <pc:sldMk cId="1301656241" sldId="299"/>
            <ac:spMk id="9" creationId="{00000000-0000-0000-0000-000000000000}"/>
          </ac:spMkLst>
        </pc:spChg>
        <pc:picChg chg="mod">
          <ac:chgData name="Matthias Scholer" userId="daad25a6-aca0-4d73-8528-03a468fe8ab9" providerId="ADAL" clId="{3B34E034-1201-4DAD-AB81-5A1431BD0187}" dt="2023-08-15T05:55:23.870" v="83" actId="1035"/>
          <ac:picMkLst>
            <pc:docMk/>
            <pc:sldMk cId="1301656241" sldId="299"/>
            <ac:picMk id="4" creationId="{00000000-0000-0000-0000-000000000000}"/>
          </ac:picMkLst>
        </pc:picChg>
      </pc:sldChg>
      <pc:sldChg chg="modSp">
        <pc:chgData name="Matthias Scholer" userId="daad25a6-aca0-4d73-8528-03a468fe8ab9" providerId="ADAL" clId="{3B34E034-1201-4DAD-AB81-5A1431BD0187}" dt="2023-08-15T05:54:51.157" v="51" actId="1076"/>
        <pc:sldMkLst>
          <pc:docMk/>
          <pc:sldMk cId="1209432304" sldId="301"/>
        </pc:sldMkLst>
        <pc:spChg chg="mod">
          <ac:chgData name="Matthias Scholer" userId="daad25a6-aca0-4d73-8528-03a468fe8ab9" providerId="ADAL" clId="{3B34E034-1201-4DAD-AB81-5A1431BD0187}" dt="2023-08-15T05:54:51.157" v="51" actId="1076"/>
          <ac:spMkLst>
            <pc:docMk/>
            <pc:sldMk cId="1209432304" sldId="301"/>
            <ac:spMk id="6" creationId="{00000000-0000-0000-0000-000000000000}"/>
          </ac:spMkLst>
        </pc:spChg>
      </pc:sldChg>
      <pc:sldChg chg="modSp">
        <pc:chgData name="Matthias Scholer" userId="daad25a6-aca0-4d73-8528-03a468fe8ab9" providerId="ADAL" clId="{3B34E034-1201-4DAD-AB81-5A1431BD0187}" dt="2023-08-15T05:55:35.953" v="144" actId="1038"/>
        <pc:sldMkLst>
          <pc:docMk/>
          <pc:sldMk cId="1617533612" sldId="302"/>
        </pc:sldMkLst>
        <pc:spChg chg="mod">
          <ac:chgData name="Matthias Scholer" userId="daad25a6-aca0-4d73-8528-03a468fe8ab9" providerId="ADAL" clId="{3B34E034-1201-4DAD-AB81-5A1431BD0187}" dt="2023-08-15T05:55:35.953" v="144" actId="1038"/>
          <ac:spMkLst>
            <pc:docMk/>
            <pc:sldMk cId="1617533612" sldId="302"/>
            <ac:spMk id="5" creationId="{00000000-0000-0000-0000-000000000000}"/>
          </ac:spMkLst>
        </pc:spChg>
      </pc:sldChg>
      <pc:sldChg chg="modSp">
        <pc:chgData name="Matthias Scholer" userId="daad25a6-aca0-4d73-8528-03a468fe8ab9" providerId="ADAL" clId="{3B34E034-1201-4DAD-AB81-5A1431BD0187}" dt="2023-08-15T05:55:46.352" v="177" actId="1037"/>
        <pc:sldMkLst>
          <pc:docMk/>
          <pc:sldMk cId="3530153375" sldId="304"/>
        </pc:sldMkLst>
        <pc:spChg chg="mod">
          <ac:chgData name="Matthias Scholer" userId="daad25a6-aca0-4d73-8528-03a468fe8ab9" providerId="ADAL" clId="{3B34E034-1201-4DAD-AB81-5A1431BD0187}" dt="2023-08-15T05:55:46.352" v="177" actId="1037"/>
          <ac:spMkLst>
            <pc:docMk/>
            <pc:sldMk cId="3530153375" sldId="304"/>
            <ac:spMk id="7" creationId="{00000000-0000-0000-0000-000000000000}"/>
          </ac:spMkLst>
        </pc:spChg>
      </pc:sldChg>
      <pc:sldChg chg="modSp">
        <pc:chgData name="Matthias Scholer" userId="daad25a6-aca0-4d73-8528-03a468fe8ab9" providerId="ADAL" clId="{3B34E034-1201-4DAD-AB81-5A1431BD0187}" dt="2023-08-15T05:55:51.694" v="201" actId="1037"/>
        <pc:sldMkLst>
          <pc:docMk/>
          <pc:sldMk cId="1831664384" sldId="307"/>
        </pc:sldMkLst>
        <pc:spChg chg="mod">
          <ac:chgData name="Matthias Scholer" userId="daad25a6-aca0-4d73-8528-03a468fe8ab9" providerId="ADAL" clId="{3B34E034-1201-4DAD-AB81-5A1431BD0187}" dt="2023-08-15T05:55:51.694" v="201" actId="1037"/>
          <ac:spMkLst>
            <pc:docMk/>
            <pc:sldMk cId="1831664384" sldId="307"/>
            <ac:spMk id="5" creationId="{00000000-0000-0000-0000-000000000000}"/>
          </ac:spMkLst>
        </pc:spChg>
      </pc:sldChg>
      <pc:sldChg chg="modSp mod">
        <pc:chgData name="Matthias Scholer" userId="daad25a6-aca0-4d73-8528-03a468fe8ab9" providerId="ADAL" clId="{3B34E034-1201-4DAD-AB81-5A1431BD0187}" dt="2023-08-15T07:15:47.811" v="876" actId="20577"/>
        <pc:sldMkLst>
          <pc:docMk/>
          <pc:sldMk cId="2670209583" sldId="308"/>
        </pc:sldMkLst>
        <pc:spChg chg="mod">
          <ac:chgData name="Matthias Scholer" userId="daad25a6-aca0-4d73-8528-03a468fe8ab9" providerId="ADAL" clId="{3B34E034-1201-4DAD-AB81-5A1431BD0187}" dt="2023-08-15T07:15:47.811" v="876" actId="20577"/>
          <ac:spMkLst>
            <pc:docMk/>
            <pc:sldMk cId="2670209583" sldId="308"/>
            <ac:spMk id="2" creationId="{00000000-0000-0000-0000-000000000000}"/>
          </ac:spMkLst>
        </pc:spChg>
      </pc:sldChg>
      <pc:sldChg chg="modSp">
        <pc:chgData name="Matthias Scholer" userId="daad25a6-aca0-4d73-8528-03a468fe8ab9" providerId="ADAL" clId="{3B34E034-1201-4DAD-AB81-5A1431BD0187}" dt="2023-08-15T05:56:07.166" v="214" actId="1036"/>
        <pc:sldMkLst>
          <pc:docMk/>
          <pc:sldMk cId="569470924" sldId="310"/>
        </pc:sldMkLst>
        <pc:spChg chg="mod">
          <ac:chgData name="Matthias Scholer" userId="daad25a6-aca0-4d73-8528-03a468fe8ab9" providerId="ADAL" clId="{3B34E034-1201-4DAD-AB81-5A1431BD0187}" dt="2023-08-15T05:56:07.166" v="214" actId="1036"/>
          <ac:spMkLst>
            <pc:docMk/>
            <pc:sldMk cId="569470924" sldId="310"/>
            <ac:spMk id="6" creationId="{00000000-0000-0000-0000-000000000000}"/>
          </ac:spMkLst>
        </pc:spChg>
      </pc:sldChg>
      <pc:sldChg chg="del">
        <pc:chgData name="Matthias Scholer" userId="daad25a6-aca0-4d73-8528-03a468fe8ab9" providerId="ADAL" clId="{3B34E034-1201-4DAD-AB81-5A1431BD0187}" dt="2023-08-03T08:58:32.532" v="3" actId="47"/>
        <pc:sldMkLst>
          <pc:docMk/>
          <pc:sldMk cId="1445859991" sldId="313"/>
        </pc:sldMkLst>
      </pc:sldChg>
      <pc:sldChg chg="modSp mod">
        <pc:chgData name="Matthias Scholer" userId="daad25a6-aca0-4d73-8528-03a468fe8ab9" providerId="ADAL" clId="{3B34E034-1201-4DAD-AB81-5A1431BD0187}" dt="2023-08-15T07:00:11.242" v="723" actId="20577"/>
        <pc:sldMkLst>
          <pc:docMk/>
          <pc:sldMk cId="364847650" sldId="320"/>
        </pc:sldMkLst>
        <pc:spChg chg="mod">
          <ac:chgData name="Matthias Scholer" userId="daad25a6-aca0-4d73-8528-03a468fe8ab9" providerId="ADAL" clId="{3B34E034-1201-4DAD-AB81-5A1431BD0187}" dt="2023-08-15T07:00:11.242" v="723" actId="20577"/>
          <ac:spMkLst>
            <pc:docMk/>
            <pc:sldMk cId="364847650" sldId="320"/>
            <ac:spMk id="4" creationId="{B954E5BE-D005-4B49-9142-456C5A94E7DF}"/>
          </ac:spMkLst>
        </pc:spChg>
        <pc:spChg chg="mod">
          <ac:chgData name="Matthias Scholer" userId="daad25a6-aca0-4d73-8528-03a468fe8ab9" providerId="ADAL" clId="{3B34E034-1201-4DAD-AB81-5A1431BD0187}" dt="2023-08-15T06:58:33.237" v="651" actId="12"/>
          <ac:spMkLst>
            <pc:docMk/>
            <pc:sldMk cId="364847650" sldId="320"/>
            <ac:spMk id="14" creationId="{00000000-0000-0000-0000-000000000000}"/>
          </ac:spMkLst>
        </pc:spChg>
      </pc:sldChg>
      <pc:sldChg chg="modSp mod ord">
        <pc:chgData name="Matthias Scholer" userId="daad25a6-aca0-4d73-8528-03a468fe8ab9" providerId="ADAL" clId="{3B34E034-1201-4DAD-AB81-5A1431BD0187}" dt="2023-08-15T07:00:30.986" v="728" actId="20577"/>
        <pc:sldMkLst>
          <pc:docMk/>
          <pc:sldMk cId="3795163419" sldId="322"/>
        </pc:sldMkLst>
        <pc:spChg chg="mod">
          <ac:chgData name="Matthias Scholer" userId="daad25a6-aca0-4d73-8528-03a468fe8ab9" providerId="ADAL" clId="{3B34E034-1201-4DAD-AB81-5A1431BD0187}" dt="2023-08-15T07:00:30.986" v="728" actId="20577"/>
          <ac:spMkLst>
            <pc:docMk/>
            <pc:sldMk cId="3795163419" sldId="322"/>
            <ac:spMk id="6" creationId="{E4084187-740B-A54D-98D2-4E53300AAF3F}"/>
          </ac:spMkLst>
        </pc:spChg>
        <pc:spChg chg="mod">
          <ac:chgData name="Matthias Scholer" userId="daad25a6-aca0-4d73-8528-03a468fe8ab9" providerId="ADAL" clId="{3B34E034-1201-4DAD-AB81-5A1431BD0187}" dt="2023-08-15T06:58:27.837" v="649" actId="12"/>
          <ac:spMkLst>
            <pc:docMk/>
            <pc:sldMk cId="3795163419" sldId="322"/>
            <ac:spMk id="14" creationId="{00000000-0000-0000-0000-000000000000}"/>
          </ac:spMkLst>
        </pc:spChg>
      </pc:sldChg>
      <pc:sldChg chg="modSp mod">
        <pc:chgData name="Matthias Scholer" userId="daad25a6-aca0-4d73-8528-03a468fe8ab9" providerId="ADAL" clId="{3B34E034-1201-4DAD-AB81-5A1431BD0187}" dt="2023-08-03T08:59:22.296" v="36" actId="20577"/>
        <pc:sldMkLst>
          <pc:docMk/>
          <pc:sldMk cId="2866160750" sldId="331"/>
        </pc:sldMkLst>
        <pc:spChg chg="mod">
          <ac:chgData name="Matthias Scholer" userId="daad25a6-aca0-4d73-8528-03a468fe8ab9" providerId="ADAL" clId="{3B34E034-1201-4DAD-AB81-5A1431BD0187}" dt="2023-08-03T08:59:22.296" v="36" actId="20577"/>
          <ac:spMkLst>
            <pc:docMk/>
            <pc:sldMk cId="2866160750" sldId="331"/>
            <ac:spMk id="48" creationId="{00000000-0000-0000-0000-000000000000}"/>
          </ac:spMkLst>
        </pc:spChg>
        <pc:spChg chg="mod">
          <ac:chgData name="Matthias Scholer" userId="daad25a6-aca0-4d73-8528-03a468fe8ab9" providerId="ADAL" clId="{3B34E034-1201-4DAD-AB81-5A1431BD0187}" dt="2023-08-03T08:59:17.702" v="25" actId="20577"/>
          <ac:spMkLst>
            <pc:docMk/>
            <pc:sldMk cId="2866160750" sldId="331"/>
            <ac:spMk id="49" creationId="{00000000-0000-0000-0000-000000000000}"/>
          </ac:spMkLst>
        </pc:spChg>
        <pc:spChg chg="mod">
          <ac:chgData name="Matthias Scholer" userId="daad25a6-aca0-4d73-8528-03a468fe8ab9" providerId="ADAL" clId="{3B34E034-1201-4DAD-AB81-5A1431BD0187}" dt="2023-08-03T08:59:08.255" v="14" actId="1076"/>
          <ac:spMkLst>
            <pc:docMk/>
            <pc:sldMk cId="2866160750" sldId="331"/>
            <ac:spMk id="36866" creationId="{00000000-0000-0000-0000-000000000000}"/>
          </ac:spMkLst>
        </pc:spChg>
      </pc:sldChg>
      <pc:sldChg chg="modSp mod">
        <pc:chgData name="Matthias Scholer" userId="daad25a6-aca0-4d73-8528-03a468fe8ab9" providerId="ADAL" clId="{3B34E034-1201-4DAD-AB81-5A1431BD0187}" dt="2023-08-15T05:55:07.107" v="71" actId="1035"/>
        <pc:sldMkLst>
          <pc:docMk/>
          <pc:sldMk cId="2034376898" sldId="341"/>
        </pc:sldMkLst>
        <pc:spChg chg="mod">
          <ac:chgData name="Matthias Scholer" userId="daad25a6-aca0-4d73-8528-03a468fe8ab9" providerId="ADAL" clId="{3B34E034-1201-4DAD-AB81-5A1431BD0187}" dt="2023-08-15T05:55:07.107" v="71" actId="1035"/>
          <ac:spMkLst>
            <pc:docMk/>
            <pc:sldMk cId="2034376898" sldId="341"/>
            <ac:spMk id="6" creationId="{00000000-0000-0000-0000-000000000000}"/>
          </ac:spMkLst>
        </pc:spChg>
        <pc:spChg chg="mod">
          <ac:chgData name="Matthias Scholer" userId="daad25a6-aca0-4d73-8528-03a468fe8ab9" providerId="ADAL" clId="{3B34E034-1201-4DAD-AB81-5A1431BD0187}" dt="2023-08-15T05:55:07.107" v="71" actId="1035"/>
          <ac:spMkLst>
            <pc:docMk/>
            <pc:sldMk cId="2034376898" sldId="341"/>
            <ac:spMk id="8" creationId="{00000000-0000-0000-0000-000000000000}"/>
          </ac:spMkLst>
        </pc:spChg>
        <pc:spChg chg="mod">
          <ac:chgData name="Matthias Scholer" userId="daad25a6-aca0-4d73-8528-03a468fe8ab9" providerId="ADAL" clId="{3B34E034-1201-4DAD-AB81-5A1431BD0187}" dt="2023-08-15T05:55:07.107" v="71" actId="1035"/>
          <ac:spMkLst>
            <pc:docMk/>
            <pc:sldMk cId="2034376898" sldId="341"/>
            <ac:spMk id="14" creationId="{00000000-0000-0000-0000-000000000000}"/>
          </ac:spMkLst>
        </pc:spChg>
        <pc:spChg chg="mod">
          <ac:chgData name="Matthias Scholer" userId="daad25a6-aca0-4d73-8528-03a468fe8ab9" providerId="ADAL" clId="{3B34E034-1201-4DAD-AB81-5A1431BD0187}" dt="2023-08-15T05:55:07.107" v="71" actId="1035"/>
          <ac:spMkLst>
            <pc:docMk/>
            <pc:sldMk cId="2034376898" sldId="341"/>
            <ac:spMk id="16" creationId="{00000000-0000-0000-0000-000000000000}"/>
          </ac:spMkLst>
        </pc:spChg>
        <pc:picChg chg="mod">
          <ac:chgData name="Matthias Scholer" userId="daad25a6-aca0-4d73-8528-03a468fe8ab9" providerId="ADAL" clId="{3B34E034-1201-4DAD-AB81-5A1431BD0187}" dt="2023-08-15T05:55:07.107" v="71" actId="1035"/>
          <ac:picMkLst>
            <pc:docMk/>
            <pc:sldMk cId="2034376898" sldId="341"/>
            <ac:picMk id="11" creationId="{00000000-0000-0000-0000-000000000000}"/>
          </ac:picMkLst>
        </pc:picChg>
        <pc:picChg chg="mod">
          <ac:chgData name="Matthias Scholer" userId="daad25a6-aca0-4d73-8528-03a468fe8ab9" providerId="ADAL" clId="{3B34E034-1201-4DAD-AB81-5A1431BD0187}" dt="2023-08-15T05:55:07.107" v="71" actId="1035"/>
          <ac:picMkLst>
            <pc:docMk/>
            <pc:sldMk cId="2034376898" sldId="341"/>
            <ac:picMk id="12" creationId="{00000000-0000-0000-0000-000000000000}"/>
          </ac:picMkLst>
        </pc:picChg>
        <pc:picChg chg="mod">
          <ac:chgData name="Matthias Scholer" userId="daad25a6-aca0-4d73-8528-03a468fe8ab9" providerId="ADAL" clId="{3B34E034-1201-4DAD-AB81-5A1431BD0187}" dt="2023-08-15T05:55:07.107" v="71" actId="1035"/>
          <ac:picMkLst>
            <pc:docMk/>
            <pc:sldMk cId="2034376898" sldId="341"/>
            <ac:picMk id="13" creationId="{00000000-0000-0000-0000-000000000000}"/>
          </ac:picMkLst>
        </pc:picChg>
        <pc:picChg chg="mod">
          <ac:chgData name="Matthias Scholer" userId="daad25a6-aca0-4d73-8528-03a468fe8ab9" providerId="ADAL" clId="{3B34E034-1201-4DAD-AB81-5A1431BD0187}" dt="2023-08-15T05:55:07.107" v="71" actId="1035"/>
          <ac:picMkLst>
            <pc:docMk/>
            <pc:sldMk cId="2034376898" sldId="341"/>
            <ac:picMk id="15" creationId="{00000000-0000-0000-0000-000000000000}"/>
          </ac:picMkLst>
        </pc:picChg>
      </pc:sldChg>
      <pc:sldChg chg="delSp mod">
        <pc:chgData name="Matthias Scholer" userId="daad25a6-aca0-4d73-8528-03a468fe8ab9" providerId="ADAL" clId="{3B34E034-1201-4DAD-AB81-5A1431BD0187}" dt="2023-08-03T08:58:25.525" v="2" actId="478"/>
        <pc:sldMkLst>
          <pc:docMk/>
          <pc:sldMk cId="2098861641" sldId="350"/>
        </pc:sldMkLst>
        <pc:spChg chg="del">
          <ac:chgData name="Matthias Scholer" userId="daad25a6-aca0-4d73-8528-03a468fe8ab9" providerId="ADAL" clId="{3B34E034-1201-4DAD-AB81-5A1431BD0187}" dt="2023-08-03T08:58:25.033" v="1" actId="478"/>
          <ac:spMkLst>
            <pc:docMk/>
            <pc:sldMk cId="2098861641" sldId="350"/>
            <ac:spMk id="13" creationId="{00000000-0000-0000-0000-000000000000}"/>
          </ac:spMkLst>
        </pc:spChg>
        <pc:picChg chg="del">
          <ac:chgData name="Matthias Scholer" userId="daad25a6-aca0-4d73-8528-03a468fe8ab9" providerId="ADAL" clId="{3B34E034-1201-4DAD-AB81-5A1431BD0187}" dt="2023-08-03T08:58:25.525" v="2" actId="478"/>
          <ac:picMkLst>
            <pc:docMk/>
            <pc:sldMk cId="2098861641" sldId="350"/>
            <ac:picMk id="12" creationId="{00000000-0000-0000-0000-000000000000}"/>
          </ac:picMkLst>
        </pc:picChg>
      </pc:sldChg>
      <pc:sldChg chg="modSp mod">
        <pc:chgData name="Matthias Scholer" userId="daad25a6-aca0-4d73-8528-03a468fe8ab9" providerId="ADAL" clId="{3B34E034-1201-4DAD-AB81-5A1431BD0187}" dt="2023-08-03T08:58:10.668" v="0" actId="2165"/>
        <pc:sldMkLst>
          <pc:docMk/>
          <pc:sldMk cId="1349345707" sldId="382"/>
        </pc:sldMkLst>
        <pc:graphicFrameChg chg="modGraphic">
          <ac:chgData name="Matthias Scholer" userId="daad25a6-aca0-4d73-8528-03a468fe8ab9" providerId="ADAL" clId="{3B34E034-1201-4DAD-AB81-5A1431BD0187}" dt="2023-08-03T08:58:10.668" v="0" actId="2165"/>
          <ac:graphicFrameMkLst>
            <pc:docMk/>
            <pc:sldMk cId="1349345707" sldId="382"/>
            <ac:graphicFrameMk id="2" creationId="{00000000-0000-0000-0000-000000000000}"/>
          </ac:graphicFrameMkLst>
        </pc:graphicFrameChg>
      </pc:sldChg>
      <pc:sldChg chg="modSp add mod ord">
        <pc:chgData name="Matthias Scholer" userId="daad25a6-aca0-4d73-8528-03a468fe8ab9" providerId="ADAL" clId="{3B34E034-1201-4DAD-AB81-5A1431BD0187}" dt="2023-08-15T07:10:13.511" v="839" actId="404"/>
        <pc:sldMkLst>
          <pc:docMk/>
          <pc:sldMk cId="2459759268" sldId="394"/>
        </pc:sldMkLst>
        <pc:spChg chg="mod">
          <ac:chgData name="Matthias Scholer" userId="daad25a6-aca0-4d73-8528-03a468fe8ab9" providerId="ADAL" clId="{3B34E034-1201-4DAD-AB81-5A1431BD0187}" dt="2023-08-15T06:57:42.202" v="646" actId="1076"/>
          <ac:spMkLst>
            <pc:docMk/>
            <pc:sldMk cId="2459759268" sldId="394"/>
            <ac:spMk id="14" creationId="{00000000-0000-0000-0000-000000000000}"/>
          </ac:spMkLst>
        </pc:spChg>
        <pc:spChg chg="mod">
          <ac:chgData name="Matthias Scholer" userId="daad25a6-aca0-4d73-8528-03a468fe8ab9" providerId="ADAL" clId="{3B34E034-1201-4DAD-AB81-5A1431BD0187}" dt="2023-08-15T07:10:13.511" v="839" actId="404"/>
          <ac:spMkLst>
            <pc:docMk/>
            <pc:sldMk cId="2459759268" sldId="394"/>
            <ac:spMk id="15" creationId="{00000000-0000-0000-0000-000000000000}"/>
          </ac:spMkLst>
        </pc:spChg>
        <pc:spChg chg="mod">
          <ac:chgData name="Matthias Scholer" userId="daad25a6-aca0-4d73-8528-03a468fe8ab9" providerId="ADAL" clId="{3B34E034-1201-4DAD-AB81-5A1431BD0187}" dt="2023-08-03T09:05:59.546" v="50" actId="20577"/>
          <ac:spMkLst>
            <pc:docMk/>
            <pc:sldMk cId="2459759268" sldId="394"/>
            <ac:spMk id="40962" creationId="{00000000-0000-0000-0000-000000000000}"/>
          </ac:spMkLst>
        </pc:spChg>
      </pc:sldChg>
      <pc:sldChg chg="del">
        <pc:chgData name="Matthias Scholer" userId="daad25a6-aca0-4d73-8528-03a468fe8ab9" providerId="ADAL" clId="{3B34E034-1201-4DAD-AB81-5A1431BD0187}" dt="2023-08-03T08:59:32.529" v="37" actId="47"/>
        <pc:sldMkLst>
          <pc:docMk/>
          <pc:sldMk cId="705574326" sldId="408"/>
        </pc:sldMkLst>
      </pc:sldChg>
      <pc:sldChg chg="del">
        <pc:chgData name="Matthias Scholer" userId="daad25a6-aca0-4d73-8528-03a468fe8ab9" providerId="ADAL" clId="{3B34E034-1201-4DAD-AB81-5A1431BD0187}" dt="2023-08-03T09:00:01.323" v="42" actId="47"/>
        <pc:sldMkLst>
          <pc:docMk/>
          <pc:sldMk cId="1933137168" sldId="409"/>
        </pc:sldMkLst>
      </pc:sldChg>
      <pc:sldChg chg="del">
        <pc:chgData name="Matthias Scholer" userId="daad25a6-aca0-4d73-8528-03a468fe8ab9" providerId="ADAL" clId="{3B34E034-1201-4DAD-AB81-5A1431BD0187}" dt="2023-08-03T09:00:11.718" v="43" actId="47"/>
        <pc:sldMkLst>
          <pc:docMk/>
          <pc:sldMk cId="2202785013" sldId="410"/>
        </pc:sldMkLst>
      </pc:sldChg>
      <pc:sldChg chg="del">
        <pc:chgData name="Matthias Scholer" userId="daad25a6-aca0-4d73-8528-03a468fe8ab9" providerId="ADAL" clId="{3B34E034-1201-4DAD-AB81-5A1431BD0187}" dt="2023-08-03T09:00:12.337" v="44" actId="47"/>
        <pc:sldMkLst>
          <pc:docMk/>
          <pc:sldMk cId="2205641630" sldId="411"/>
        </pc:sldMkLst>
      </pc:sldChg>
      <pc:sldChg chg="del ord">
        <pc:chgData name="Matthias Scholer" userId="daad25a6-aca0-4d73-8528-03a468fe8ab9" providerId="ADAL" clId="{3B34E034-1201-4DAD-AB81-5A1431BD0187}" dt="2023-08-15T06:45:51.574" v="374" actId="47"/>
        <pc:sldMkLst>
          <pc:docMk/>
          <pc:sldMk cId="773937436" sldId="423"/>
        </pc:sldMkLst>
      </pc:sldChg>
      <pc:sldChg chg="delSp modSp mod">
        <pc:chgData name="Matthias Scholer" userId="daad25a6-aca0-4d73-8528-03a468fe8ab9" providerId="ADAL" clId="{3B34E034-1201-4DAD-AB81-5A1431BD0187}" dt="2023-08-15T05:57:11.592" v="232" actId="1076"/>
        <pc:sldMkLst>
          <pc:docMk/>
          <pc:sldMk cId="314508303" sldId="424"/>
        </pc:sldMkLst>
        <pc:spChg chg="del mod">
          <ac:chgData name="Matthias Scholer" userId="daad25a6-aca0-4d73-8528-03a468fe8ab9" providerId="ADAL" clId="{3B34E034-1201-4DAD-AB81-5A1431BD0187}" dt="2023-08-15T05:56:54.305" v="225" actId="478"/>
          <ac:spMkLst>
            <pc:docMk/>
            <pc:sldMk cId="314508303" sldId="424"/>
            <ac:spMk id="26628" creationId="{00000000-0000-0000-0000-000000000000}"/>
          </ac:spMkLst>
        </pc:spChg>
        <pc:spChg chg="mod">
          <ac:chgData name="Matthias Scholer" userId="daad25a6-aca0-4d73-8528-03a468fe8ab9" providerId="ADAL" clId="{3B34E034-1201-4DAD-AB81-5A1431BD0187}" dt="2023-08-15T05:57:11.592" v="232" actId="1076"/>
          <ac:spMkLst>
            <pc:docMk/>
            <pc:sldMk cId="314508303" sldId="424"/>
            <ac:spMk id="26631" creationId="{00000000-0000-0000-0000-000000000000}"/>
          </ac:spMkLst>
        </pc:spChg>
      </pc:sldChg>
      <pc:sldChg chg="modSp mod">
        <pc:chgData name="Matthias Scholer" userId="daad25a6-aca0-4d73-8528-03a468fe8ab9" providerId="ADAL" clId="{3B34E034-1201-4DAD-AB81-5A1431BD0187}" dt="2023-08-15T05:57:17.500" v="246" actId="1037"/>
        <pc:sldMkLst>
          <pc:docMk/>
          <pc:sldMk cId="1172467438" sldId="425"/>
        </pc:sldMkLst>
        <pc:spChg chg="mod">
          <ac:chgData name="Matthias Scholer" userId="daad25a6-aca0-4d73-8528-03a468fe8ab9" providerId="ADAL" clId="{3B34E034-1201-4DAD-AB81-5A1431BD0187}" dt="2023-08-03T08:59:04.438" v="13" actId="1035"/>
          <ac:spMkLst>
            <pc:docMk/>
            <pc:sldMk cId="1172467438" sldId="425"/>
            <ac:spMk id="27650" creationId="{00000000-0000-0000-0000-000000000000}"/>
          </ac:spMkLst>
        </pc:spChg>
        <pc:spChg chg="mod">
          <ac:chgData name="Matthias Scholer" userId="daad25a6-aca0-4d73-8528-03a468fe8ab9" providerId="ADAL" clId="{3B34E034-1201-4DAD-AB81-5A1431BD0187}" dt="2023-08-15T05:57:17.500" v="246" actId="1037"/>
          <ac:spMkLst>
            <pc:docMk/>
            <pc:sldMk cId="1172467438" sldId="425"/>
            <ac:spMk id="27654" creationId="{00000000-0000-0000-0000-000000000000}"/>
          </ac:spMkLst>
        </pc:spChg>
      </pc:sldChg>
      <pc:sldChg chg="modSp mod">
        <pc:chgData name="Matthias Scholer" userId="daad25a6-aca0-4d73-8528-03a468fe8ab9" providerId="ADAL" clId="{3B34E034-1201-4DAD-AB81-5A1431BD0187}" dt="2023-08-15T07:15:40.319" v="875" actId="20577"/>
        <pc:sldMkLst>
          <pc:docMk/>
          <pc:sldMk cId="3538500990" sldId="429"/>
        </pc:sldMkLst>
        <pc:spChg chg="mod">
          <ac:chgData name="Matthias Scholer" userId="daad25a6-aca0-4d73-8528-03a468fe8ab9" providerId="ADAL" clId="{3B34E034-1201-4DAD-AB81-5A1431BD0187}" dt="2023-08-15T07:15:40.319" v="875" actId="20577"/>
          <ac:spMkLst>
            <pc:docMk/>
            <pc:sldMk cId="3538500990" sldId="429"/>
            <ac:spMk id="2" creationId="{00000000-0000-0000-0000-000000000000}"/>
          </ac:spMkLst>
        </pc:spChg>
      </pc:sldChg>
      <pc:sldChg chg="modSp mod">
        <pc:chgData name="Matthias Scholer" userId="daad25a6-aca0-4d73-8528-03a468fe8ab9" providerId="ADAL" clId="{3B34E034-1201-4DAD-AB81-5A1431BD0187}" dt="2023-08-15T07:15:36.351" v="874" actId="20577"/>
        <pc:sldMkLst>
          <pc:docMk/>
          <pc:sldMk cId="4200854970" sldId="430"/>
        </pc:sldMkLst>
        <pc:spChg chg="mod">
          <ac:chgData name="Matthias Scholer" userId="daad25a6-aca0-4d73-8528-03a468fe8ab9" providerId="ADAL" clId="{3B34E034-1201-4DAD-AB81-5A1431BD0187}" dt="2023-08-15T07:15:36.351" v="874" actId="20577"/>
          <ac:spMkLst>
            <pc:docMk/>
            <pc:sldMk cId="4200854970" sldId="430"/>
            <ac:spMk id="2" creationId="{00000000-0000-0000-0000-000000000000}"/>
          </ac:spMkLst>
        </pc:spChg>
      </pc:sldChg>
      <pc:sldChg chg="modSp mod">
        <pc:chgData name="Matthias Scholer" userId="daad25a6-aca0-4d73-8528-03a468fe8ab9" providerId="ADAL" clId="{3B34E034-1201-4DAD-AB81-5A1431BD0187}" dt="2023-08-15T07:15:31.033" v="873" actId="20577"/>
        <pc:sldMkLst>
          <pc:docMk/>
          <pc:sldMk cId="832023091" sldId="431"/>
        </pc:sldMkLst>
        <pc:spChg chg="mod">
          <ac:chgData name="Matthias Scholer" userId="daad25a6-aca0-4d73-8528-03a468fe8ab9" providerId="ADAL" clId="{3B34E034-1201-4DAD-AB81-5A1431BD0187}" dt="2023-08-15T07:15:31.033" v="873" actId="20577"/>
          <ac:spMkLst>
            <pc:docMk/>
            <pc:sldMk cId="832023091" sldId="431"/>
            <ac:spMk id="2" creationId="{00000000-0000-0000-0000-000000000000}"/>
          </ac:spMkLst>
        </pc:spChg>
      </pc:sldChg>
      <pc:sldChg chg="addSp modSp add mod">
        <pc:chgData name="Matthias Scholer" userId="daad25a6-aca0-4d73-8528-03a468fe8ab9" providerId="ADAL" clId="{3B34E034-1201-4DAD-AB81-5A1431BD0187}" dt="2023-08-15T06:45:10.844" v="371" actId="1076"/>
        <pc:sldMkLst>
          <pc:docMk/>
          <pc:sldMk cId="144589801" sldId="433"/>
        </pc:sldMkLst>
        <pc:spChg chg="mod">
          <ac:chgData name="Matthias Scholer" userId="daad25a6-aca0-4d73-8528-03a468fe8ab9" providerId="ADAL" clId="{3B34E034-1201-4DAD-AB81-5A1431BD0187}" dt="2023-08-15T06:08:55.420" v="278" actId="20577"/>
          <ac:spMkLst>
            <pc:docMk/>
            <pc:sldMk cId="144589801" sldId="433"/>
            <ac:spMk id="2" creationId="{00000000-0000-0000-0000-000000000000}"/>
          </ac:spMkLst>
        </pc:spChg>
        <pc:spChg chg="mod">
          <ac:chgData name="Matthias Scholer" userId="daad25a6-aca0-4d73-8528-03a468fe8ab9" providerId="ADAL" clId="{3B34E034-1201-4DAD-AB81-5A1431BD0187}" dt="2023-08-15T06:44:36.587" v="370" actId="113"/>
          <ac:spMkLst>
            <pc:docMk/>
            <pc:sldMk cId="144589801" sldId="433"/>
            <ac:spMk id="8" creationId="{00000000-0000-0000-0000-000000000000}"/>
          </ac:spMkLst>
        </pc:spChg>
        <pc:spChg chg="mod">
          <ac:chgData name="Matthias Scholer" userId="daad25a6-aca0-4d73-8528-03a468fe8ab9" providerId="ADAL" clId="{3B34E034-1201-4DAD-AB81-5A1431BD0187}" dt="2023-08-15T06:09:16.973" v="283" actId="20577"/>
          <ac:spMkLst>
            <pc:docMk/>
            <pc:sldMk cId="144589801" sldId="433"/>
            <ac:spMk id="9" creationId="{00000000-0000-0000-0000-000000000000}"/>
          </ac:spMkLst>
        </pc:spChg>
        <pc:picChg chg="add mod">
          <ac:chgData name="Matthias Scholer" userId="daad25a6-aca0-4d73-8528-03a468fe8ab9" providerId="ADAL" clId="{3B34E034-1201-4DAD-AB81-5A1431BD0187}" dt="2023-08-15T06:45:10.844" v="371" actId="1076"/>
          <ac:picMkLst>
            <pc:docMk/>
            <pc:sldMk cId="144589801" sldId="433"/>
            <ac:picMk id="1026" creationId="{5D1DA787-D45D-659E-4D63-185370FA029A}"/>
          </ac:picMkLst>
        </pc:picChg>
      </pc:sldChg>
      <pc:sldChg chg="new del">
        <pc:chgData name="Matthias Scholer" userId="daad25a6-aca0-4d73-8528-03a468fe8ab9" providerId="ADAL" clId="{3B34E034-1201-4DAD-AB81-5A1431BD0187}" dt="2023-08-15T06:08:32.816" v="248" actId="47"/>
        <pc:sldMkLst>
          <pc:docMk/>
          <pc:sldMk cId="1020033619" sldId="433"/>
        </pc:sldMkLst>
      </pc:sldChg>
      <pc:sldChg chg="addSp delSp modSp new mod">
        <pc:chgData name="Matthias Scholer" userId="daad25a6-aca0-4d73-8528-03a468fe8ab9" providerId="ADAL" clId="{3B34E034-1201-4DAD-AB81-5A1431BD0187}" dt="2023-08-15T06:41:39.922" v="333" actId="20577"/>
        <pc:sldMkLst>
          <pc:docMk/>
          <pc:sldMk cId="1166608638" sldId="434"/>
        </pc:sldMkLst>
        <pc:spChg chg="mod">
          <ac:chgData name="Matthias Scholer" userId="daad25a6-aca0-4d73-8528-03a468fe8ab9" providerId="ADAL" clId="{3B34E034-1201-4DAD-AB81-5A1431BD0187}" dt="2023-08-15T06:40:18.541" v="294" actId="20577"/>
          <ac:spMkLst>
            <pc:docMk/>
            <pc:sldMk cId="1166608638" sldId="434"/>
            <ac:spMk id="2" creationId="{C2E2428B-C639-B6BD-9877-7B082377015B}"/>
          </ac:spMkLst>
        </pc:spChg>
        <pc:spChg chg="add del mod">
          <ac:chgData name="Matthias Scholer" userId="daad25a6-aca0-4d73-8528-03a468fe8ab9" providerId="ADAL" clId="{3B34E034-1201-4DAD-AB81-5A1431BD0187}" dt="2023-08-15T06:40:24.674" v="297" actId="478"/>
          <ac:spMkLst>
            <pc:docMk/>
            <pc:sldMk cId="1166608638" sldId="434"/>
            <ac:spMk id="6" creationId="{31584D1E-4951-2357-6FF2-C85F2CF0EEB5}"/>
          </ac:spMkLst>
        </pc:spChg>
        <pc:spChg chg="add mod">
          <ac:chgData name="Matthias Scholer" userId="daad25a6-aca0-4d73-8528-03a468fe8ab9" providerId="ADAL" clId="{3B34E034-1201-4DAD-AB81-5A1431BD0187}" dt="2023-08-15T06:41:39.922" v="333" actId="20577"/>
          <ac:spMkLst>
            <pc:docMk/>
            <pc:sldMk cId="1166608638" sldId="434"/>
            <ac:spMk id="7" creationId="{309E5849-B4BC-C286-DE8B-DD1E89E98146}"/>
          </ac:spMkLst>
        </pc:spChg>
      </pc:sldChg>
      <pc:sldChg chg="addSp delSp modSp add mod">
        <pc:chgData name="Matthias Scholer" userId="daad25a6-aca0-4d73-8528-03a468fe8ab9" providerId="ADAL" clId="{3B34E034-1201-4DAD-AB81-5A1431BD0187}" dt="2023-08-15T06:50:31.008" v="644" actId="1035"/>
        <pc:sldMkLst>
          <pc:docMk/>
          <pc:sldMk cId="3680895159" sldId="435"/>
        </pc:sldMkLst>
        <pc:spChg chg="mod">
          <ac:chgData name="Matthias Scholer" userId="daad25a6-aca0-4d73-8528-03a468fe8ab9" providerId="ADAL" clId="{3B34E034-1201-4DAD-AB81-5A1431BD0187}" dt="2023-08-15T06:46:04.220" v="383" actId="20577"/>
          <ac:spMkLst>
            <pc:docMk/>
            <pc:sldMk cId="3680895159" sldId="435"/>
            <ac:spMk id="2" creationId="{00000000-0000-0000-0000-000000000000}"/>
          </ac:spMkLst>
        </pc:spChg>
        <pc:spChg chg="add mod">
          <ac:chgData name="Matthias Scholer" userId="daad25a6-aca0-4d73-8528-03a468fe8ab9" providerId="ADAL" clId="{3B34E034-1201-4DAD-AB81-5A1431BD0187}" dt="2023-08-15T06:50:31.008" v="644" actId="1035"/>
          <ac:spMkLst>
            <pc:docMk/>
            <pc:sldMk cId="3680895159" sldId="435"/>
            <ac:spMk id="5" creationId="{76114704-4CA1-B56F-CD8F-37829334A660}"/>
          </ac:spMkLst>
        </pc:spChg>
        <pc:spChg chg="mod">
          <ac:chgData name="Matthias Scholer" userId="daad25a6-aca0-4d73-8528-03a468fe8ab9" providerId="ADAL" clId="{3B34E034-1201-4DAD-AB81-5A1431BD0187}" dt="2023-08-15T06:50:26.429" v="627" actId="1076"/>
          <ac:spMkLst>
            <pc:docMk/>
            <pc:sldMk cId="3680895159" sldId="435"/>
            <ac:spMk id="8" creationId="{00000000-0000-0000-0000-000000000000}"/>
          </ac:spMkLst>
        </pc:spChg>
        <pc:picChg chg="del">
          <ac:chgData name="Matthias Scholer" userId="daad25a6-aca0-4d73-8528-03a468fe8ab9" providerId="ADAL" clId="{3B34E034-1201-4DAD-AB81-5A1431BD0187}" dt="2023-08-15T06:46:05.818" v="384" actId="478"/>
          <ac:picMkLst>
            <pc:docMk/>
            <pc:sldMk cId="3680895159" sldId="435"/>
            <ac:picMk id="1026" creationId="{5D1DA787-D45D-659E-4D63-185370FA029A}"/>
          </ac:picMkLst>
        </pc:picChg>
        <pc:picChg chg="add mod">
          <ac:chgData name="Matthias Scholer" userId="daad25a6-aca0-4d73-8528-03a468fe8ab9" providerId="ADAL" clId="{3B34E034-1201-4DAD-AB81-5A1431BD0187}" dt="2023-08-15T06:50:31.008" v="644" actId="1035"/>
          <ac:picMkLst>
            <pc:docMk/>
            <pc:sldMk cId="3680895159" sldId="435"/>
            <ac:picMk id="3074" creationId="{F38A1D72-223C-A91E-A68C-A472479EC8A0}"/>
          </ac:picMkLst>
        </pc:picChg>
      </pc:sldChg>
      <pc:sldChg chg="add del">
        <pc:chgData name="Matthias Scholer" userId="daad25a6-aca0-4d73-8528-03a468fe8ab9" providerId="ADAL" clId="{3B34E034-1201-4DAD-AB81-5A1431BD0187}" dt="2023-08-15T06:45:57.136" v="375" actId="47"/>
        <pc:sldMkLst>
          <pc:docMk/>
          <pc:sldMk cId="986249440" sldId="436"/>
        </pc:sldMkLst>
      </pc:sldChg>
      <pc:sldChg chg="addSp delSp modSp add mod">
        <pc:chgData name="Matthias Scholer" userId="daad25a6-aca0-4d73-8528-03a468fe8ab9" providerId="ADAL" clId="{3B34E034-1201-4DAD-AB81-5A1431BD0187}" dt="2023-08-15T07:16:03.557" v="877" actId="14100"/>
        <pc:sldMkLst>
          <pc:docMk/>
          <pc:sldMk cId="2017123862" sldId="436"/>
        </pc:sldMkLst>
        <pc:spChg chg="del">
          <ac:chgData name="Matthias Scholer" userId="daad25a6-aca0-4d73-8528-03a468fe8ab9" providerId="ADAL" clId="{3B34E034-1201-4DAD-AB81-5A1431BD0187}" dt="2023-08-15T07:00:53.446" v="743" actId="478"/>
          <ac:spMkLst>
            <pc:docMk/>
            <pc:sldMk cId="2017123862" sldId="436"/>
            <ac:spMk id="2" creationId="{59835B1F-CCDF-BBC9-ABB9-601125A2415E}"/>
          </ac:spMkLst>
        </pc:spChg>
        <pc:spChg chg="del">
          <ac:chgData name="Matthias Scholer" userId="daad25a6-aca0-4d73-8528-03a468fe8ab9" providerId="ADAL" clId="{3B34E034-1201-4DAD-AB81-5A1431BD0187}" dt="2023-08-15T07:00:53.446" v="743" actId="478"/>
          <ac:spMkLst>
            <pc:docMk/>
            <pc:sldMk cId="2017123862" sldId="436"/>
            <ac:spMk id="3" creationId="{6282EF2A-1181-6297-AEE7-F3BAA4798DC8}"/>
          </ac:spMkLst>
        </pc:spChg>
        <pc:spChg chg="del">
          <ac:chgData name="Matthias Scholer" userId="daad25a6-aca0-4d73-8528-03a468fe8ab9" providerId="ADAL" clId="{3B34E034-1201-4DAD-AB81-5A1431BD0187}" dt="2023-08-15T07:00:55.929" v="744" actId="478"/>
          <ac:spMkLst>
            <pc:docMk/>
            <pc:sldMk cId="2017123862" sldId="436"/>
            <ac:spMk id="4" creationId="{00000000-0000-0000-0000-000000000000}"/>
          </ac:spMkLst>
        </pc:spChg>
        <pc:spChg chg="del">
          <ac:chgData name="Matthias Scholer" userId="daad25a6-aca0-4d73-8528-03a468fe8ab9" providerId="ADAL" clId="{3B34E034-1201-4DAD-AB81-5A1431BD0187}" dt="2023-08-15T07:00:53.446" v="743" actId="478"/>
          <ac:spMkLst>
            <pc:docMk/>
            <pc:sldMk cId="2017123862" sldId="436"/>
            <ac:spMk id="5" creationId="{00000000-0000-0000-0000-000000000000}"/>
          </ac:spMkLst>
        </pc:spChg>
        <pc:spChg chg="mod">
          <ac:chgData name="Matthias Scholer" userId="daad25a6-aca0-4d73-8528-03a468fe8ab9" providerId="ADAL" clId="{3B34E034-1201-4DAD-AB81-5A1431BD0187}" dt="2023-08-15T06:59:50.313" v="681" actId="20577"/>
          <ac:spMkLst>
            <pc:docMk/>
            <pc:sldMk cId="2017123862" sldId="436"/>
            <ac:spMk id="6" creationId="{E4084187-740B-A54D-98D2-4E53300AAF3F}"/>
          </ac:spMkLst>
        </pc:spChg>
        <pc:spChg chg="mod">
          <ac:chgData name="Matthias Scholer" userId="daad25a6-aca0-4d73-8528-03a468fe8ab9" providerId="ADAL" clId="{3B34E034-1201-4DAD-AB81-5A1431BD0187}" dt="2023-08-15T07:08:23.568" v="830" actId="20577"/>
          <ac:spMkLst>
            <pc:docMk/>
            <pc:sldMk cId="2017123862" sldId="436"/>
            <ac:spMk id="14" creationId="{00000000-0000-0000-0000-000000000000}"/>
          </ac:spMkLst>
        </pc:spChg>
        <pc:spChg chg="add mod">
          <ac:chgData name="Matthias Scholer" userId="daad25a6-aca0-4d73-8528-03a468fe8ab9" providerId="ADAL" clId="{3B34E034-1201-4DAD-AB81-5A1431BD0187}" dt="2023-08-15T07:08:29.750" v="832" actId="1076"/>
          <ac:spMkLst>
            <pc:docMk/>
            <pc:sldMk cId="2017123862" sldId="436"/>
            <ac:spMk id="15" creationId="{1CC2D095-7438-3D59-0F63-3ABDEE1C8584}"/>
          </ac:spMkLst>
        </pc:spChg>
        <pc:spChg chg="add mod">
          <ac:chgData name="Matthias Scholer" userId="daad25a6-aca0-4d73-8528-03a468fe8ab9" providerId="ADAL" clId="{3B34E034-1201-4DAD-AB81-5A1431BD0187}" dt="2023-08-15T07:10:50.386" v="869" actId="1076"/>
          <ac:spMkLst>
            <pc:docMk/>
            <pc:sldMk cId="2017123862" sldId="436"/>
            <ac:spMk id="18" creationId="{D6E906F0-0B43-97EF-FAD8-96E25B22F8D4}"/>
          </ac:spMkLst>
        </pc:spChg>
        <pc:spChg chg="add mod">
          <ac:chgData name="Matthias Scholer" userId="daad25a6-aca0-4d73-8528-03a468fe8ab9" providerId="ADAL" clId="{3B34E034-1201-4DAD-AB81-5A1431BD0187}" dt="2023-08-15T07:11:05.867" v="872"/>
          <ac:spMkLst>
            <pc:docMk/>
            <pc:sldMk cId="2017123862" sldId="436"/>
            <ac:spMk id="19" creationId="{8B286F70-CFA4-B6FF-7127-FE2D56309B39}"/>
          </ac:spMkLst>
        </pc:spChg>
        <pc:picChg chg="add del">
          <ac:chgData name="Matthias Scholer" userId="daad25a6-aca0-4d73-8528-03a468fe8ab9" providerId="ADAL" clId="{3B34E034-1201-4DAD-AB81-5A1431BD0187}" dt="2023-08-15T07:00:53.446" v="743" actId="478"/>
          <ac:picMkLst>
            <pc:docMk/>
            <pc:sldMk cId="2017123862" sldId="436"/>
            <ac:picMk id="7" creationId="{00000000-0000-0000-0000-000000000000}"/>
          </ac:picMkLst>
        </pc:picChg>
        <pc:picChg chg="add del">
          <ac:chgData name="Matthias Scholer" userId="daad25a6-aca0-4d73-8528-03a468fe8ab9" providerId="ADAL" clId="{3B34E034-1201-4DAD-AB81-5A1431BD0187}" dt="2023-08-15T07:00:53.446" v="743" actId="478"/>
          <ac:picMkLst>
            <pc:docMk/>
            <pc:sldMk cId="2017123862" sldId="436"/>
            <ac:picMk id="8" creationId="{00000000-0000-0000-0000-000000000000}"/>
          </ac:picMkLst>
        </pc:picChg>
        <pc:picChg chg="add del">
          <ac:chgData name="Matthias Scholer" userId="daad25a6-aca0-4d73-8528-03a468fe8ab9" providerId="ADAL" clId="{3B34E034-1201-4DAD-AB81-5A1431BD0187}" dt="2023-08-15T07:00:53.446" v="743" actId="478"/>
          <ac:picMkLst>
            <pc:docMk/>
            <pc:sldMk cId="2017123862" sldId="436"/>
            <ac:picMk id="10" creationId="{00000000-0000-0000-0000-000000000000}"/>
          </ac:picMkLst>
        </pc:picChg>
        <pc:picChg chg="add del">
          <ac:chgData name="Matthias Scholer" userId="daad25a6-aca0-4d73-8528-03a468fe8ab9" providerId="ADAL" clId="{3B34E034-1201-4DAD-AB81-5A1431BD0187}" dt="2023-08-15T07:00:56.534" v="745" actId="478"/>
          <ac:picMkLst>
            <pc:docMk/>
            <pc:sldMk cId="2017123862" sldId="436"/>
            <ac:picMk id="11" creationId="{00000000-0000-0000-0000-000000000000}"/>
          </ac:picMkLst>
        </pc:picChg>
        <pc:picChg chg="add del">
          <ac:chgData name="Matthias Scholer" userId="daad25a6-aca0-4d73-8528-03a468fe8ab9" providerId="ADAL" clId="{3B34E034-1201-4DAD-AB81-5A1431BD0187}" dt="2023-08-15T07:00:53.446" v="743" actId="478"/>
          <ac:picMkLst>
            <pc:docMk/>
            <pc:sldMk cId="2017123862" sldId="436"/>
            <ac:picMk id="12" creationId="{00000000-0000-0000-0000-000000000000}"/>
          </ac:picMkLst>
        </pc:picChg>
        <pc:picChg chg="add mod">
          <ac:chgData name="Matthias Scholer" userId="daad25a6-aca0-4d73-8528-03a468fe8ab9" providerId="ADAL" clId="{3B34E034-1201-4DAD-AB81-5A1431BD0187}" dt="2023-08-15T07:08:27.648" v="831" actId="1076"/>
          <ac:picMkLst>
            <pc:docMk/>
            <pc:sldMk cId="2017123862" sldId="436"/>
            <ac:picMk id="13" creationId="{B5378813-F4FA-B3FE-3A56-0F398EE171A4}"/>
          </ac:picMkLst>
        </pc:picChg>
        <pc:picChg chg="add del mod">
          <ac:chgData name="Matthias Scholer" userId="daad25a6-aca0-4d73-8528-03a468fe8ab9" providerId="ADAL" clId="{3B34E034-1201-4DAD-AB81-5A1431BD0187}" dt="2023-08-15T07:04:48.733" v="775" actId="478"/>
          <ac:picMkLst>
            <pc:docMk/>
            <pc:sldMk cId="2017123862" sldId="436"/>
            <ac:picMk id="4098" creationId="{37095F6A-FFFA-0176-00C1-378ABE109539}"/>
          </ac:picMkLst>
        </pc:picChg>
        <pc:picChg chg="add mod">
          <ac:chgData name="Matthias Scholer" userId="daad25a6-aca0-4d73-8528-03a468fe8ab9" providerId="ADAL" clId="{3B34E034-1201-4DAD-AB81-5A1431BD0187}" dt="2023-08-15T07:16:03.557" v="877" actId="14100"/>
          <ac:picMkLst>
            <pc:docMk/>
            <pc:sldMk cId="2017123862" sldId="436"/>
            <ac:picMk id="4100" creationId="{E11FD59D-9263-A2CC-B102-3516034D3BDC}"/>
          </ac:picMkLst>
        </pc:picChg>
      </pc:sldChg>
    </pc:docChg>
  </pc:docChgLst>
  <pc:docChgLst>
    <pc:chgData name="Matthias Scholer" userId="daad25a6-aca0-4d73-8528-03a468fe8ab9" providerId="ADAL" clId="{1CD88113-8D16-4663-96C7-ACB351AC704F}"/>
    <pc:docChg chg="undo custSel addSld delSld modSld sldOrd">
      <pc:chgData name="Matthias Scholer" userId="daad25a6-aca0-4d73-8528-03a468fe8ab9" providerId="ADAL" clId="{1CD88113-8D16-4663-96C7-ACB351AC704F}" dt="2023-12-20T15:03:14.545" v="341" actId="207"/>
      <pc:docMkLst>
        <pc:docMk/>
      </pc:docMkLst>
      <pc:sldChg chg="add del">
        <pc:chgData name="Matthias Scholer" userId="daad25a6-aca0-4d73-8528-03a468fe8ab9" providerId="ADAL" clId="{1CD88113-8D16-4663-96C7-ACB351AC704F}" dt="2023-12-12T07:48:41.470" v="19"/>
        <pc:sldMkLst>
          <pc:docMk/>
          <pc:sldMk cId="3144984276" sldId="300"/>
        </pc:sldMkLst>
      </pc:sldChg>
      <pc:sldChg chg="add del">
        <pc:chgData name="Matthias Scholer" userId="daad25a6-aca0-4d73-8528-03a468fe8ab9" providerId="ADAL" clId="{1CD88113-8D16-4663-96C7-ACB351AC704F}" dt="2023-12-12T07:48:41.470" v="19"/>
        <pc:sldMkLst>
          <pc:docMk/>
          <pc:sldMk cId="3993453542" sldId="301"/>
        </pc:sldMkLst>
      </pc:sldChg>
      <pc:sldChg chg="modSp add del mod">
        <pc:chgData name="Matthias Scholer" userId="daad25a6-aca0-4d73-8528-03a468fe8ab9" providerId="ADAL" clId="{1CD88113-8D16-4663-96C7-ACB351AC704F}" dt="2023-12-12T07:48:41.525" v="21" actId="27636"/>
        <pc:sldMkLst>
          <pc:docMk/>
          <pc:sldMk cId="2540657623" sldId="302"/>
        </pc:sldMkLst>
        <pc:spChg chg="mod">
          <ac:chgData name="Matthias Scholer" userId="daad25a6-aca0-4d73-8528-03a468fe8ab9" providerId="ADAL" clId="{1CD88113-8D16-4663-96C7-ACB351AC704F}" dt="2023-12-12T07:48:41.525" v="21" actId="27636"/>
          <ac:spMkLst>
            <pc:docMk/>
            <pc:sldMk cId="2540657623" sldId="302"/>
            <ac:spMk id="43010" creationId="{00000000-0000-0000-0000-000000000000}"/>
          </ac:spMkLst>
        </pc:spChg>
      </pc:sldChg>
      <pc:sldChg chg="modSp add del mod">
        <pc:chgData name="Matthias Scholer" userId="daad25a6-aca0-4d73-8528-03a468fe8ab9" providerId="ADAL" clId="{1CD88113-8D16-4663-96C7-ACB351AC704F}" dt="2023-12-12T07:48:41.530" v="22" actId="27636"/>
        <pc:sldMkLst>
          <pc:docMk/>
          <pc:sldMk cId="1837863044" sldId="303"/>
        </pc:sldMkLst>
        <pc:spChg chg="mod">
          <ac:chgData name="Matthias Scholer" userId="daad25a6-aca0-4d73-8528-03a468fe8ab9" providerId="ADAL" clId="{1CD88113-8D16-4663-96C7-ACB351AC704F}" dt="2023-12-12T07:48:41.530" v="22" actId="27636"/>
          <ac:spMkLst>
            <pc:docMk/>
            <pc:sldMk cId="1837863044" sldId="303"/>
            <ac:spMk id="38914" creationId="{00000000-0000-0000-0000-000000000000}"/>
          </ac:spMkLst>
        </pc:spChg>
      </pc:sldChg>
      <pc:sldChg chg="addSp delSp modSp add del mod">
        <pc:chgData name="Matthias Scholer" userId="daad25a6-aca0-4d73-8528-03a468fe8ab9" providerId="ADAL" clId="{1CD88113-8D16-4663-96C7-ACB351AC704F}" dt="2023-12-19T10:14:16.845" v="313" actId="1076"/>
        <pc:sldMkLst>
          <pc:docMk/>
          <pc:sldMk cId="3871226154" sldId="304"/>
        </pc:sldMkLst>
        <pc:spChg chg="add mod">
          <ac:chgData name="Matthias Scholer" userId="daad25a6-aca0-4d73-8528-03a468fe8ab9" providerId="ADAL" clId="{1CD88113-8D16-4663-96C7-ACB351AC704F}" dt="2023-12-19T10:14:16.845" v="313" actId="1076"/>
          <ac:spMkLst>
            <pc:docMk/>
            <pc:sldMk cId="3871226154" sldId="304"/>
            <ac:spMk id="10" creationId="{C478EEB3-B929-41FD-D7FA-60403E3449D8}"/>
          </ac:spMkLst>
        </pc:spChg>
        <pc:spChg chg="mod">
          <ac:chgData name="Matthias Scholer" userId="daad25a6-aca0-4d73-8528-03a468fe8ab9" providerId="ADAL" clId="{1CD88113-8D16-4663-96C7-ACB351AC704F}" dt="2023-12-12T07:48:41.532" v="23" actId="27636"/>
          <ac:spMkLst>
            <pc:docMk/>
            <pc:sldMk cId="3871226154" sldId="304"/>
            <ac:spMk id="44034" creationId="{00000000-0000-0000-0000-000000000000}"/>
          </ac:spMkLst>
        </pc:spChg>
        <pc:picChg chg="add del mod">
          <ac:chgData name="Matthias Scholer" userId="daad25a6-aca0-4d73-8528-03a468fe8ab9" providerId="ADAL" clId="{1CD88113-8D16-4663-96C7-ACB351AC704F}" dt="2023-12-19T10:13:46.994" v="305" actId="478"/>
          <ac:picMkLst>
            <pc:docMk/>
            <pc:sldMk cId="3871226154" sldId="304"/>
            <ac:picMk id="4" creationId="{63912D7C-2512-D947-C0B2-55B50BDC2B30}"/>
          </ac:picMkLst>
        </pc:picChg>
        <pc:picChg chg="add mod">
          <ac:chgData name="Matthias Scholer" userId="daad25a6-aca0-4d73-8528-03a468fe8ab9" providerId="ADAL" clId="{1CD88113-8D16-4663-96C7-ACB351AC704F}" dt="2023-12-19T10:12:44.534" v="296" actId="1076"/>
          <ac:picMkLst>
            <pc:docMk/>
            <pc:sldMk cId="3871226154" sldId="304"/>
            <ac:picMk id="5" creationId="{7D15274D-8C02-1B71-0BFA-0E23089CBA74}"/>
          </ac:picMkLst>
        </pc:picChg>
        <pc:picChg chg="add mod">
          <ac:chgData name="Matthias Scholer" userId="daad25a6-aca0-4d73-8528-03a468fe8ab9" providerId="ADAL" clId="{1CD88113-8D16-4663-96C7-ACB351AC704F}" dt="2023-12-19T10:13:50.043" v="307" actId="1076"/>
          <ac:picMkLst>
            <pc:docMk/>
            <pc:sldMk cId="3871226154" sldId="304"/>
            <ac:picMk id="6" creationId="{C13EE7F5-D177-0B26-36FD-9BE100D82BAF}"/>
          </ac:picMkLst>
        </pc:picChg>
      </pc:sldChg>
      <pc:sldChg chg="addSp modSp add del mod">
        <pc:chgData name="Matthias Scholer" userId="daad25a6-aca0-4d73-8528-03a468fe8ab9" providerId="ADAL" clId="{1CD88113-8D16-4663-96C7-ACB351AC704F}" dt="2023-12-19T10:13:04.682" v="300" actId="1076"/>
        <pc:sldMkLst>
          <pc:docMk/>
          <pc:sldMk cId="2887432786" sldId="305"/>
        </pc:sldMkLst>
        <pc:spChg chg="mod">
          <ac:chgData name="Matthias Scholer" userId="daad25a6-aca0-4d73-8528-03a468fe8ab9" providerId="ADAL" clId="{1CD88113-8D16-4663-96C7-ACB351AC704F}" dt="2023-12-19T10:11:38.496" v="293" actId="948"/>
          <ac:spMkLst>
            <pc:docMk/>
            <pc:sldMk cId="2887432786" sldId="305"/>
            <ac:spMk id="45058" creationId="{00000000-0000-0000-0000-000000000000}"/>
          </ac:spMkLst>
        </pc:spChg>
        <pc:picChg chg="add mod">
          <ac:chgData name="Matthias Scholer" userId="daad25a6-aca0-4d73-8528-03a468fe8ab9" providerId="ADAL" clId="{1CD88113-8D16-4663-96C7-ACB351AC704F}" dt="2023-12-19T10:12:54.632" v="298" actId="1076"/>
          <ac:picMkLst>
            <pc:docMk/>
            <pc:sldMk cId="2887432786" sldId="305"/>
            <ac:picMk id="4" creationId="{26530795-506D-447D-9CB8-428B5C022807}"/>
          </ac:picMkLst>
        </pc:picChg>
        <pc:picChg chg="add mod">
          <ac:chgData name="Matthias Scholer" userId="daad25a6-aca0-4d73-8528-03a468fe8ab9" providerId="ADAL" clId="{1CD88113-8D16-4663-96C7-ACB351AC704F}" dt="2023-12-19T10:13:04.682" v="300" actId="1076"/>
          <ac:picMkLst>
            <pc:docMk/>
            <pc:sldMk cId="2887432786" sldId="305"/>
            <ac:picMk id="5" creationId="{A99FB01C-6162-9B03-2AC5-966ECBDFC4C0}"/>
          </ac:picMkLst>
        </pc:picChg>
      </pc:sldChg>
      <pc:sldChg chg="modSp add del mod">
        <pc:chgData name="Matthias Scholer" userId="daad25a6-aca0-4d73-8528-03a468fe8ab9" providerId="ADAL" clId="{1CD88113-8D16-4663-96C7-ACB351AC704F}" dt="2023-12-19T10:12:13.284" v="294" actId="20577"/>
        <pc:sldMkLst>
          <pc:docMk/>
          <pc:sldMk cId="4289611318" sldId="306"/>
        </pc:sldMkLst>
        <pc:spChg chg="mod">
          <ac:chgData name="Matthias Scholer" userId="daad25a6-aca0-4d73-8528-03a468fe8ab9" providerId="ADAL" clId="{1CD88113-8D16-4663-96C7-ACB351AC704F}" dt="2023-12-19T10:12:13.284" v="294" actId="20577"/>
          <ac:spMkLst>
            <pc:docMk/>
            <pc:sldMk cId="4289611318" sldId="306"/>
            <ac:spMk id="14" creationId="{00000000-0000-0000-0000-000000000000}"/>
          </ac:spMkLst>
        </pc:spChg>
        <pc:spChg chg="mod">
          <ac:chgData name="Matthias Scholer" userId="daad25a6-aca0-4d73-8528-03a468fe8ab9" providerId="ADAL" clId="{1CD88113-8D16-4663-96C7-ACB351AC704F}" dt="2023-12-12T07:48:41.540" v="25" actId="27636"/>
          <ac:spMkLst>
            <pc:docMk/>
            <pc:sldMk cId="4289611318" sldId="306"/>
            <ac:spMk id="46082" creationId="{00000000-0000-0000-0000-000000000000}"/>
          </ac:spMkLst>
        </pc:spChg>
      </pc:sldChg>
      <pc:sldChg chg="modSp add del mod">
        <pc:chgData name="Matthias Scholer" userId="daad25a6-aca0-4d73-8528-03a468fe8ab9" providerId="ADAL" clId="{1CD88113-8D16-4663-96C7-ACB351AC704F}" dt="2023-12-12T07:49:34.423" v="31" actId="47"/>
        <pc:sldMkLst>
          <pc:docMk/>
          <pc:sldMk cId="3478518480" sldId="307"/>
        </pc:sldMkLst>
        <pc:spChg chg="mod">
          <ac:chgData name="Matthias Scholer" userId="daad25a6-aca0-4d73-8528-03a468fe8ab9" providerId="ADAL" clId="{1CD88113-8D16-4663-96C7-ACB351AC704F}" dt="2023-12-12T07:48:41.542" v="26" actId="27636"/>
          <ac:spMkLst>
            <pc:docMk/>
            <pc:sldMk cId="3478518480" sldId="307"/>
            <ac:spMk id="47106" creationId="{00000000-0000-0000-0000-000000000000}"/>
          </ac:spMkLst>
        </pc:spChg>
      </pc:sldChg>
      <pc:sldChg chg="modSp add mod">
        <pc:chgData name="Matthias Scholer" userId="daad25a6-aca0-4d73-8528-03a468fe8ab9" providerId="ADAL" clId="{1CD88113-8D16-4663-96C7-ACB351AC704F}" dt="2023-12-12T07:48:41.547" v="28" actId="27636"/>
        <pc:sldMkLst>
          <pc:docMk/>
          <pc:sldMk cId="2088200307" sldId="371"/>
        </pc:sldMkLst>
        <pc:spChg chg="mod">
          <ac:chgData name="Matthias Scholer" userId="daad25a6-aca0-4d73-8528-03a468fe8ab9" providerId="ADAL" clId="{1CD88113-8D16-4663-96C7-ACB351AC704F}" dt="2023-12-12T07:48:41.547" v="28" actId="27636"/>
          <ac:spMkLst>
            <pc:docMk/>
            <pc:sldMk cId="2088200307" sldId="371"/>
            <ac:spMk id="2" creationId="{00000000-0000-0000-0000-000000000000}"/>
          </ac:spMkLst>
        </pc:spChg>
      </pc:sldChg>
      <pc:sldChg chg="modSp add mod">
        <pc:chgData name="Matthias Scholer" userId="daad25a6-aca0-4d73-8528-03a468fe8ab9" providerId="ADAL" clId="{1CD88113-8D16-4663-96C7-ACB351AC704F}" dt="2023-12-12T07:48:41.553" v="30" actId="27636"/>
        <pc:sldMkLst>
          <pc:docMk/>
          <pc:sldMk cId="1221079407" sldId="373"/>
        </pc:sldMkLst>
        <pc:spChg chg="mod">
          <ac:chgData name="Matthias Scholer" userId="daad25a6-aca0-4d73-8528-03a468fe8ab9" providerId="ADAL" clId="{1CD88113-8D16-4663-96C7-ACB351AC704F}" dt="2023-12-12T07:48:41.553" v="30" actId="27636"/>
          <ac:spMkLst>
            <pc:docMk/>
            <pc:sldMk cId="1221079407" sldId="373"/>
            <ac:spMk id="2" creationId="{00000000-0000-0000-0000-000000000000}"/>
          </ac:spMkLst>
        </pc:spChg>
      </pc:sldChg>
      <pc:sldChg chg="modSp add mod">
        <pc:chgData name="Matthias Scholer" userId="daad25a6-aca0-4d73-8528-03a468fe8ab9" providerId="ADAL" clId="{1CD88113-8D16-4663-96C7-ACB351AC704F}" dt="2023-12-12T07:48:41.550" v="29" actId="27636"/>
        <pc:sldMkLst>
          <pc:docMk/>
          <pc:sldMk cId="1817802834" sldId="374"/>
        </pc:sldMkLst>
        <pc:spChg chg="mod">
          <ac:chgData name="Matthias Scholer" userId="daad25a6-aca0-4d73-8528-03a468fe8ab9" providerId="ADAL" clId="{1CD88113-8D16-4663-96C7-ACB351AC704F}" dt="2023-12-12T07:48:41.550" v="29" actId="27636"/>
          <ac:spMkLst>
            <pc:docMk/>
            <pc:sldMk cId="1817802834" sldId="374"/>
            <ac:spMk id="2" creationId="{00000000-0000-0000-0000-000000000000}"/>
          </ac:spMkLst>
        </pc:spChg>
      </pc:sldChg>
      <pc:sldChg chg="modSp add del mod">
        <pc:chgData name="Matthias Scholer" userId="daad25a6-aca0-4d73-8528-03a468fe8ab9" providerId="ADAL" clId="{1CD88113-8D16-4663-96C7-ACB351AC704F}" dt="2023-12-12T07:48:41.513" v="20" actId="27636"/>
        <pc:sldMkLst>
          <pc:docMk/>
          <pc:sldMk cId="1080844004" sldId="379"/>
        </pc:sldMkLst>
        <pc:spChg chg="mod">
          <ac:chgData name="Matthias Scholer" userId="daad25a6-aca0-4d73-8528-03a468fe8ab9" providerId="ADAL" clId="{1CD88113-8D16-4663-96C7-ACB351AC704F}" dt="2023-12-12T07:48:41.513" v="20" actId="27636"/>
          <ac:spMkLst>
            <pc:docMk/>
            <pc:sldMk cId="1080844004" sldId="379"/>
            <ac:spMk id="19" creationId="{00000000-0000-0000-0000-000000000000}"/>
          </ac:spMkLst>
        </pc:spChg>
      </pc:sldChg>
      <pc:sldChg chg="modSp mod">
        <pc:chgData name="Matthias Scholer" userId="daad25a6-aca0-4d73-8528-03a468fe8ab9" providerId="ADAL" clId="{1CD88113-8D16-4663-96C7-ACB351AC704F}" dt="2023-12-12T07:46:07.736" v="1"/>
        <pc:sldMkLst>
          <pc:docMk/>
          <pc:sldMk cId="625374514" sldId="405"/>
        </pc:sldMkLst>
        <pc:spChg chg="mod">
          <ac:chgData name="Matthias Scholer" userId="daad25a6-aca0-4d73-8528-03a468fe8ab9" providerId="ADAL" clId="{1CD88113-8D16-4663-96C7-ACB351AC704F}" dt="2023-12-12T07:45:58.257" v="0" actId="20577"/>
          <ac:spMkLst>
            <pc:docMk/>
            <pc:sldMk cId="625374514" sldId="405"/>
            <ac:spMk id="2" creationId="{AEBDEA89-7970-39B5-FB7D-E8A78DC83D4C}"/>
          </ac:spMkLst>
        </pc:spChg>
        <pc:spChg chg="mod">
          <ac:chgData name="Matthias Scholer" userId="daad25a6-aca0-4d73-8528-03a468fe8ab9" providerId="ADAL" clId="{1CD88113-8D16-4663-96C7-ACB351AC704F}" dt="2023-12-12T07:46:07.736" v="1"/>
          <ac:spMkLst>
            <pc:docMk/>
            <pc:sldMk cId="625374514" sldId="405"/>
            <ac:spMk id="4" creationId="{501DC283-ED45-EC2B-F441-094DFC027205}"/>
          </ac:spMkLst>
        </pc:spChg>
      </pc:sldChg>
      <pc:sldChg chg="addSp modSp add mod">
        <pc:chgData name="Matthias Scholer" userId="daad25a6-aca0-4d73-8528-03a468fe8ab9" providerId="ADAL" clId="{1CD88113-8D16-4663-96C7-ACB351AC704F}" dt="2023-12-19T10:13:32.657" v="304" actId="1076"/>
        <pc:sldMkLst>
          <pc:docMk/>
          <pc:sldMk cId="1675678487" sldId="407"/>
        </pc:sldMkLst>
        <pc:spChg chg="mod">
          <ac:chgData name="Matthias Scholer" userId="daad25a6-aca0-4d73-8528-03a468fe8ab9" providerId="ADAL" clId="{1CD88113-8D16-4663-96C7-ACB351AC704F}" dt="2023-12-12T07:48:41.544" v="27" actId="27636"/>
          <ac:spMkLst>
            <pc:docMk/>
            <pc:sldMk cId="1675678487" sldId="407"/>
            <ac:spMk id="49154" creationId="{00000000-0000-0000-0000-000000000000}"/>
          </ac:spMkLst>
        </pc:spChg>
        <pc:picChg chg="add mod modCrop">
          <ac:chgData name="Matthias Scholer" userId="daad25a6-aca0-4d73-8528-03a468fe8ab9" providerId="ADAL" clId="{1CD88113-8D16-4663-96C7-ACB351AC704F}" dt="2023-12-19T10:13:32.657" v="304" actId="1076"/>
          <ac:picMkLst>
            <pc:docMk/>
            <pc:sldMk cId="1675678487" sldId="407"/>
            <ac:picMk id="4" creationId="{26530795-506D-447D-9CB8-428B5C022807}"/>
          </ac:picMkLst>
        </pc:picChg>
      </pc:sldChg>
      <pc:sldChg chg="modSp new mod">
        <pc:chgData name="Matthias Scholer" userId="daad25a6-aca0-4d73-8528-03a468fe8ab9" providerId="ADAL" clId="{1CD88113-8D16-4663-96C7-ACB351AC704F}" dt="2023-12-12T07:50:00.175" v="37" actId="27636"/>
        <pc:sldMkLst>
          <pc:docMk/>
          <pc:sldMk cId="18294815" sldId="408"/>
        </pc:sldMkLst>
        <pc:spChg chg="mod">
          <ac:chgData name="Matthias Scholer" userId="daad25a6-aca0-4d73-8528-03a468fe8ab9" providerId="ADAL" clId="{1CD88113-8D16-4663-96C7-ACB351AC704F}" dt="2023-12-12T07:50:00.175" v="37" actId="27636"/>
          <ac:spMkLst>
            <pc:docMk/>
            <pc:sldMk cId="18294815" sldId="408"/>
            <ac:spMk id="3" creationId="{5F570BCC-0895-9ADC-EDAE-8C5EDFC49B54}"/>
          </ac:spMkLst>
        </pc:spChg>
      </pc:sldChg>
      <pc:sldChg chg="add del">
        <pc:chgData name="Matthias Scholer" userId="daad25a6-aca0-4d73-8528-03a468fe8ab9" providerId="ADAL" clId="{1CD88113-8D16-4663-96C7-ACB351AC704F}" dt="2023-12-12T07:50:00.114" v="33"/>
        <pc:sldMkLst>
          <pc:docMk/>
          <pc:sldMk cId="3097149474" sldId="417"/>
        </pc:sldMkLst>
      </pc:sldChg>
      <pc:sldChg chg="add del">
        <pc:chgData name="Matthias Scholer" userId="daad25a6-aca0-4d73-8528-03a468fe8ab9" providerId="ADAL" clId="{1CD88113-8D16-4663-96C7-ACB351AC704F}" dt="2023-12-12T07:50:00.114" v="33"/>
        <pc:sldMkLst>
          <pc:docMk/>
          <pc:sldMk cId="253219779" sldId="418"/>
        </pc:sldMkLst>
      </pc:sldChg>
      <pc:sldChg chg="add del">
        <pc:chgData name="Matthias Scholer" userId="daad25a6-aca0-4d73-8528-03a468fe8ab9" providerId="ADAL" clId="{1CD88113-8D16-4663-96C7-ACB351AC704F}" dt="2023-12-12T07:50:00.114" v="33"/>
        <pc:sldMkLst>
          <pc:docMk/>
          <pc:sldMk cId="1254178873" sldId="419"/>
        </pc:sldMkLst>
      </pc:sldChg>
      <pc:sldChg chg="add del">
        <pc:chgData name="Matthias Scholer" userId="daad25a6-aca0-4d73-8528-03a468fe8ab9" providerId="ADAL" clId="{1CD88113-8D16-4663-96C7-ACB351AC704F}" dt="2023-12-12T07:50:00.114" v="33"/>
        <pc:sldMkLst>
          <pc:docMk/>
          <pc:sldMk cId="2750802394" sldId="421"/>
        </pc:sldMkLst>
      </pc:sldChg>
      <pc:sldChg chg="add del">
        <pc:chgData name="Matthias Scholer" userId="daad25a6-aca0-4d73-8528-03a468fe8ab9" providerId="ADAL" clId="{1CD88113-8D16-4663-96C7-ACB351AC704F}" dt="2023-12-12T07:50:00.114" v="33"/>
        <pc:sldMkLst>
          <pc:docMk/>
          <pc:sldMk cId="3510241311" sldId="422"/>
        </pc:sldMkLst>
      </pc:sldChg>
      <pc:sldChg chg="add del">
        <pc:chgData name="Matthias Scholer" userId="daad25a6-aca0-4d73-8528-03a468fe8ab9" providerId="ADAL" clId="{1CD88113-8D16-4663-96C7-ACB351AC704F}" dt="2023-12-12T07:50:00.114" v="33"/>
        <pc:sldMkLst>
          <pc:docMk/>
          <pc:sldMk cId="271597112" sldId="424"/>
        </pc:sldMkLst>
      </pc:sldChg>
      <pc:sldChg chg="modSp add del mod">
        <pc:chgData name="Matthias Scholer" userId="daad25a6-aca0-4d73-8528-03a468fe8ab9" providerId="ADAL" clId="{1CD88113-8D16-4663-96C7-ACB351AC704F}" dt="2023-12-12T07:50:00.167" v="34" actId="27636"/>
        <pc:sldMkLst>
          <pc:docMk/>
          <pc:sldMk cId="3209618348" sldId="425"/>
        </pc:sldMkLst>
        <pc:spChg chg="mod">
          <ac:chgData name="Matthias Scholer" userId="daad25a6-aca0-4d73-8528-03a468fe8ab9" providerId="ADAL" clId="{1CD88113-8D16-4663-96C7-ACB351AC704F}" dt="2023-12-12T07:50:00.167" v="34" actId="27636"/>
          <ac:spMkLst>
            <pc:docMk/>
            <pc:sldMk cId="3209618348" sldId="425"/>
            <ac:spMk id="2" creationId="{00000000-0000-0000-0000-000000000000}"/>
          </ac:spMkLst>
        </pc:spChg>
      </pc:sldChg>
      <pc:sldChg chg="modSp add del mod">
        <pc:chgData name="Matthias Scholer" userId="daad25a6-aca0-4d73-8528-03a468fe8ab9" providerId="ADAL" clId="{1CD88113-8D16-4663-96C7-ACB351AC704F}" dt="2023-12-12T07:50:00.171" v="35" actId="27636"/>
        <pc:sldMkLst>
          <pc:docMk/>
          <pc:sldMk cId="3134678137" sldId="426"/>
        </pc:sldMkLst>
        <pc:spChg chg="mod">
          <ac:chgData name="Matthias Scholer" userId="daad25a6-aca0-4d73-8528-03a468fe8ab9" providerId="ADAL" clId="{1CD88113-8D16-4663-96C7-ACB351AC704F}" dt="2023-12-12T07:50:00.171" v="35" actId="27636"/>
          <ac:spMkLst>
            <pc:docMk/>
            <pc:sldMk cId="3134678137" sldId="426"/>
            <ac:spMk id="2" creationId="{00000000-0000-0000-0000-000000000000}"/>
          </ac:spMkLst>
        </pc:spChg>
      </pc:sldChg>
      <pc:sldChg chg="modSp add del mod">
        <pc:chgData name="Matthias Scholer" userId="daad25a6-aca0-4d73-8528-03a468fe8ab9" providerId="ADAL" clId="{1CD88113-8D16-4663-96C7-ACB351AC704F}" dt="2023-12-12T07:50:00.173" v="36" actId="27636"/>
        <pc:sldMkLst>
          <pc:docMk/>
          <pc:sldMk cId="2821475924" sldId="427"/>
        </pc:sldMkLst>
        <pc:spChg chg="mod">
          <ac:chgData name="Matthias Scholer" userId="daad25a6-aca0-4d73-8528-03a468fe8ab9" providerId="ADAL" clId="{1CD88113-8D16-4663-96C7-ACB351AC704F}" dt="2023-12-12T07:50:00.173" v="36" actId="27636"/>
          <ac:spMkLst>
            <pc:docMk/>
            <pc:sldMk cId="2821475924" sldId="427"/>
            <ac:spMk id="2" creationId="{00000000-0000-0000-0000-000000000000}"/>
          </ac:spMkLst>
        </pc:spChg>
      </pc:sldChg>
      <pc:sldChg chg="add del">
        <pc:chgData name="Matthias Scholer" userId="daad25a6-aca0-4d73-8528-03a468fe8ab9" providerId="ADAL" clId="{1CD88113-8D16-4663-96C7-ACB351AC704F}" dt="2023-12-12T07:50:00.114" v="33"/>
        <pc:sldMkLst>
          <pc:docMk/>
          <pc:sldMk cId="2799414757" sldId="428"/>
        </pc:sldMkLst>
      </pc:sldChg>
      <pc:sldChg chg="add del">
        <pc:chgData name="Matthias Scholer" userId="daad25a6-aca0-4d73-8528-03a468fe8ab9" providerId="ADAL" clId="{1CD88113-8D16-4663-96C7-ACB351AC704F}" dt="2023-12-12T07:50:13.680" v="38"/>
        <pc:sldMkLst>
          <pc:docMk/>
          <pc:sldMk cId="2730342311" sldId="429"/>
        </pc:sldMkLst>
      </pc:sldChg>
      <pc:sldChg chg="modSp add del mod ord">
        <pc:chgData name="Matthias Scholer" userId="daad25a6-aca0-4d73-8528-03a468fe8ab9" providerId="ADAL" clId="{1CD88113-8D16-4663-96C7-ACB351AC704F}" dt="2023-12-12T07:50:32.809" v="43"/>
        <pc:sldMkLst>
          <pc:docMk/>
          <pc:sldMk cId="3982390243" sldId="430"/>
        </pc:sldMkLst>
        <pc:spChg chg="mod">
          <ac:chgData name="Matthias Scholer" userId="daad25a6-aca0-4d73-8528-03a468fe8ab9" providerId="ADAL" clId="{1CD88113-8D16-4663-96C7-ACB351AC704F}" dt="2023-12-12T07:50:13.736" v="39" actId="27636"/>
          <ac:spMkLst>
            <pc:docMk/>
            <pc:sldMk cId="3982390243" sldId="430"/>
            <ac:spMk id="2" creationId="{00000000-0000-0000-0000-000000000000}"/>
          </ac:spMkLst>
        </pc:spChg>
      </pc:sldChg>
      <pc:sldChg chg="add del ord">
        <pc:chgData name="Matthias Scholer" userId="daad25a6-aca0-4d73-8528-03a468fe8ab9" providerId="ADAL" clId="{1CD88113-8D16-4663-96C7-ACB351AC704F}" dt="2023-12-12T07:50:32.809" v="43"/>
        <pc:sldMkLst>
          <pc:docMk/>
          <pc:sldMk cId="1031261644" sldId="431"/>
        </pc:sldMkLst>
      </pc:sldChg>
      <pc:sldChg chg="modSp add del mod">
        <pc:chgData name="Matthias Scholer" userId="daad25a6-aca0-4d73-8528-03a468fe8ab9" providerId="ADAL" clId="{1CD88113-8D16-4663-96C7-ACB351AC704F}" dt="2023-12-12T07:50:18.603" v="41" actId="47"/>
        <pc:sldMkLst>
          <pc:docMk/>
          <pc:sldMk cId="2668951946" sldId="432"/>
        </pc:sldMkLst>
        <pc:spChg chg="mod">
          <ac:chgData name="Matthias Scholer" userId="daad25a6-aca0-4d73-8528-03a468fe8ab9" providerId="ADAL" clId="{1CD88113-8D16-4663-96C7-ACB351AC704F}" dt="2023-12-12T07:50:13.738" v="40" actId="27636"/>
          <ac:spMkLst>
            <pc:docMk/>
            <pc:sldMk cId="2668951946" sldId="432"/>
            <ac:spMk id="2" creationId="{00000000-0000-0000-0000-000000000000}"/>
          </ac:spMkLst>
        </pc:spChg>
      </pc:sldChg>
      <pc:sldChg chg="addSp delSp modSp add del mod">
        <pc:chgData name="Matthias Scholer" userId="daad25a6-aca0-4d73-8528-03a468fe8ab9" providerId="ADAL" clId="{1CD88113-8D16-4663-96C7-ACB351AC704F}" dt="2023-12-19T15:06:51.415" v="322" actId="1076"/>
        <pc:sldMkLst>
          <pc:docMk/>
          <pc:sldMk cId="3330145430" sldId="433"/>
        </pc:sldMkLst>
        <pc:picChg chg="mod">
          <ac:chgData name="Matthias Scholer" userId="daad25a6-aca0-4d73-8528-03a468fe8ab9" providerId="ADAL" clId="{1CD88113-8D16-4663-96C7-ACB351AC704F}" dt="2023-12-19T15:06:51.415" v="322" actId="1076"/>
          <ac:picMkLst>
            <pc:docMk/>
            <pc:sldMk cId="3330145430" sldId="433"/>
            <ac:picMk id="5" creationId="{00000000-0000-0000-0000-000000000000}"/>
          </ac:picMkLst>
        </pc:picChg>
        <pc:picChg chg="mod">
          <ac:chgData name="Matthias Scholer" userId="daad25a6-aca0-4d73-8528-03a468fe8ab9" providerId="ADAL" clId="{1CD88113-8D16-4663-96C7-ACB351AC704F}" dt="2023-12-19T15:06:48.510" v="321" actId="1076"/>
          <ac:picMkLst>
            <pc:docMk/>
            <pc:sldMk cId="3330145430" sldId="433"/>
            <ac:picMk id="7" creationId="{00000000-0000-0000-0000-000000000000}"/>
          </ac:picMkLst>
        </pc:picChg>
        <pc:picChg chg="add del mod">
          <ac:chgData name="Matthias Scholer" userId="daad25a6-aca0-4d73-8528-03a468fe8ab9" providerId="ADAL" clId="{1CD88113-8D16-4663-96C7-ACB351AC704F}" dt="2023-12-19T15:06:45.308" v="320" actId="478"/>
          <ac:picMkLst>
            <pc:docMk/>
            <pc:sldMk cId="3330145430" sldId="433"/>
            <ac:picMk id="1026" creationId="{8D8D1D98-D99B-64F2-5EF1-4447F6385B9E}"/>
          </ac:picMkLst>
        </pc:picChg>
      </pc:sldChg>
      <pc:sldChg chg="add del">
        <pc:chgData name="Matthias Scholer" userId="daad25a6-aca0-4d73-8528-03a468fe8ab9" providerId="ADAL" clId="{1CD88113-8D16-4663-96C7-ACB351AC704F}" dt="2023-12-12T07:50:13.680" v="38"/>
        <pc:sldMkLst>
          <pc:docMk/>
          <pc:sldMk cId="2593616376" sldId="434"/>
        </pc:sldMkLst>
      </pc:sldChg>
      <pc:sldChg chg="add del">
        <pc:chgData name="Matthias Scholer" userId="daad25a6-aca0-4d73-8528-03a468fe8ab9" providerId="ADAL" clId="{1CD88113-8D16-4663-96C7-ACB351AC704F}" dt="2023-12-12T07:50:13.680" v="38"/>
        <pc:sldMkLst>
          <pc:docMk/>
          <pc:sldMk cId="2524840938" sldId="435"/>
        </pc:sldMkLst>
      </pc:sldChg>
      <pc:sldChg chg="add del">
        <pc:chgData name="Matthias Scholer" userId="daad25a6-aca0-4d73-8528-03a468fe8ab9" providerId="ADAL" clId="{1CD88113-8D16-4663-96C7-ACB351AC704F}" dt="2023-12-12T07:50:13.680" v="38"/>
        <pc:sldMkLst>
          <pc:docMk/>
          <pc:sldMk cId="1860611279" sldId="437"/>
        </pc:sldMkLst>
      </pc:sldChg>
      <pc:sldChg chg="add del">
        <pc:chgData name="Matthias Scholer" userId="daad25a6-aca0-4d73-8528-03a468fe8ab9" providerId="ADAL" clId="{1CD88113-8D16-4663-96C7-ACB351AC704F}" dt="2023-12-12T07:50:13.680" v="38"/>
        <pc:sldMkLst>
          <pc:docMk/>
          <pc:sldMk cId="831295496" sldId="438"/>
        </pc:sldMkLst>
      </pc:sldChg>
      <pc:sldChg chg="add del">
        <pc:chgData name="Matthias Scholer" userId="daad25a6-aca0-4d73-8528-03a468fe8ab9" providerId="ADAL" clId="{1CD88113-8D16-4663-96C7-ACB351AC704F}" dt="2023-12-12T07:47:51.104" v="18"/>
        <pc:sldMkLst>
          <pc:docMk/>
          <pc:sldMk cId="3965325846" sldId="439"/>
        </pc:sldMkLst>
      </pc:sldChg>
      <pc:sldChg chg="add del">
        <pc:chgData name="Matthias Scholer" userId="daad25a6-aca0-4d73-8528-03a468fe8ab9" providerId="ADAL" clId="{1CD88113-8D16-4663-96C7-ACB351AC704F}" dt="2023-12-12T07:50:00.114" v="33"/>
        <pc:sldMkLst>
          <pc:docMk/>
          <pc:sldMk cId="2457845669" sldId="446"/>
        </pc:sldMkLst>
      </pc:sldChg>
      <pc:sldChg chg="add del">
        <pc:chgData name="Matthias Scholer" userId="daad25a6-aca0-4d73-8528-03a468fe8ab9" providerId="ADAL" clId="{1CD88113-8D16-4663-96C7-ACB351AC704F}" dt="2023-12-12T07:47:51.104" v="18"/>
        <pc:sldMkLst>
          <pc:docMk/>
          <pc:sldMk cId="2143143991" sldId="448"/>
        </pc:sldMkLst>
      </pc:sldChg>
      <pc:sldChg chg="add del">
        <pc:chgData name="Matthias Scholer" userId="daad25a6-aca0-4d73-8528-03a468fe8ab9" providerId="ADAL" clId="{1CD88113-8D16-4663-96C7-ACB351AC704F}" dt="2023-12-12T07:47:51.104" v="18"/>
        <pc:sldMkLst>
          <pc:docMk/>
          <pc:sldMk cId="603037832" sldId="449"/>
        </pc:sldMkLst>
      </pc:sldChg>
      <pc:sldChg chg="delSp modSp add mod">
        <pc:chgData name="Matthias Scholer" userId="daad25a6-aca0-4d73-8528-03a468fe8ab9" providerId="ADAL" clId="{1CD88113-8D16-4663-96C7-ACB351AC704F}" dt="2023-12-12T07:52:33.587" v="47" actId="478"/>
        <pc:sldMkLst>
          <pc:docMk/>
          <pc:sldMk cId="1285869582" sldId="521"/>
        </pc:sldMkLst>
        <pc:spChg chg="mod">
          <ac:chgData name="Matthias Scholer" userId="daad25a6-aca0-4d73-8528-03a468fe8ab9" providerId="ADAL" clId="{1CD88113-8D16-4663-96C7-ACB351AC704F}" dt="2023-12-12T07:52:28.411" v="46" actId="27636"/>
          <ac:spMkLst>
            <pc:docMk/>
            <pc:sldMk cId="1285869582" sldId="521"/>
            <ac:spMk id="2" creationId="{00000000-0000-0000-0000-000000000000}"/>
          </ac:spMkLst>
        </pc:spChg>
        <pc:spChg chg="del">
          <ac:chgData name="Matthias Scholer" userId="daad25a6-aca0-4d73-8528-03a468fe8ab9" providerId="ADAL" clId="{1CD88113-8D16-4663-96C7-ACB351AC704F}" dt="2023-12-12T07:52:33.587" v="47" actId="478"/>
          <ac:spMkLst>
            <pc:docMk/>
            <pc:sldMk cId="1285869582" sldId="521"/>
            <ac:spMk id="10" creationId="{00000000-0000-0000-0000-000000000000}"/>
          </ac:spMkLst>
        </pc:spChg>
      </pc:sldChg>
      <pc:sldChg chg="add">
        <pc:chgData name="Matthias Scholer" userId="daad25a6-aca0-4d73-8528-03a468fe8ab9" providerId="ADAL" clId="{1CD88113-8D16-4663-96C7-ACB351AC704F}" dt="2023-12-12T07:51:13.549" v="44"/>
        <pc:sldMkLst>
          <pc:docMk/>
          <pc:sldMk cId="2044903568" sldId="679"/>
        </pc:sldMkLst>
      </pc:sldChg>
      <pc:sldChg chg="modSp add del mod">
        <pc:chgData name="Matthias Scholer" userId="daad25a6-aca0-4d73-8528-03a468fe8ab9" providerId="ADAL" clId="{1CD88113-8D16-4663-96C7-ACB351AC704F}" dt="2023-12-12T07:47:51.104" v="18"/>
        <pc:sldMkLst>
          <pc:docMk/>
          <pc:sldMk cId="1630416656" sldId="682"/>
        </pc:sldMkLst>
        <pc:spChg chg="mod">
          <ac:chgData name="Matthias Scholer" userId="daad25a6-aca0-4d73-8528-03a468fe8ab9" providerId="ADAL" clId="{1CD88113-8D16-4663-96C7-ACB351AC704F}" dt="2023-12-12T07:47:51.104" v="18"/>
          <ac:spMkLst>
            <pc:docMk/>
            <pc:sldMk cId="1630416656" sldId="682"/>
            <ac:spMk id="4" creationId="{F3C2AB5B-F4C6-4236-BA1B-C73142987D70}"/>
          </ac:spMkLst>
        </pc:spChg>
      </pc:sldChg>
      <pc:sldChg chg="add del">
        <pc:chgData name="Matthias Scholer" userId="daad25a6-aca0-4d73-8528-03a468fe8ab9" providerId="ADAL" clId="{1CD88113-8D16-4663-96C7-ACB351AC704F}" dt="2023-12-12T07:50:13.680" v="38"/>
        <pc:sldMkLst>
          <pc:docMk/>
          <pc:sldMk cId="3795108637" sldId="683"/>
        </pc:sldMkLst>
      </pc:sldChg>
      <pc:sldChg chg="modSp add del mod">
        <pc:chgData name="Matthias Scholer" userId="daad25a6-aca0-4d73-8528-03a468fe8ab9" providerId="ADAL" clId="{1CD88113-8D16-4663-96C7-ACB351AC704F}" dt="2023-12-12T07:47:51.104" v="18"/>
        <pc:sldMkLst>
          <pc:docMk/>
          <pc:sldMk cId="2537984225" sldId="684"/>
        </pc:sldMkLst>
        <pc:spChg chg="mod">
          <ac:chgData name="Matthias Scholer" userId="daad25a6-aca0-4d73-8528-03a468fe8ab9" providerId="ADAL" clId="{1CD88113-8D16-4663-96C7-ACB351AC704F}" dt="2023-12-12T07:47:51.104" v="18"/>
          <ac:spMkLst>
            <pc:docMk/>
            <pc:sldMk cId="2537984225" sldId="684"/>
            <ac:spMk id="4" creationId="{8A126507-D0E0-4D3D-9A32-2A41C01B2C8C}"/>
          </ac:spMkLst>
        </pc:spChg>
      </pc:sldChg>
      <pc:sldChg chg="addSp delSp modSp new mod">
        <pc:chgData name="Matthias Scholer" userId="daad25a6-aca0-4d73-8528-03a468fe8ab9" providerId="ADAL" clId="{1CD88113-8D16-4663-96C7-ACB351AC704F}" dt="2023-12-12T08:11:03.006" v="66" actId="14100"/>
        <pc:sldMkLst>
          <pc:docMk/>
          <pc:sldMk cId="2539669609" sldId="684"/>
        </pc:sldMkLst>
        <pc:spChg chg="del">
          <ac:chgData name="Matthias Scholer" userId="daad25a6-aca0-4d73-8528-03a468fe8ab9" providerId="ADAL" clId="{1CD88113-8D16-4663-96C7-ACB351AC704F}" dt="2023-12-12T08:10:17.455" v="49" actId="478"/>
          <ac:spMkLst>
            <pc:docMk/>
            <pc:sldMk cId="2539669609" sldId="684"/>
            <ac:spMk id="2" creationId="{C67A5D4B-5A58-6F9D-8927-2CA80316DF87}"/>
          </ac:spMkLst>
        </pc:spChg>
        <pc:spChg chg="mod">
          <ac:chgData name="Matthias Scholer" userId="daad25a6-aca0-4d73-8528-03a468fe8ab9" providerId="ADAL" clId="{1CD88113-8D16-4663-96C7-ACB351AC704F}" dt="2023-12-12T08:10:42.451" v="59" actId="20577"/>
          <ac:spMkLst>
            <pc:docMk/>
            <pc:sldMk cId="2539669609" sldId="684"/>
            <ac:spMk id="3" creationId="{C10A6DB1-76FB-D8DC-69CA-21183599E3B2}"/>
          </ac:spMkLst>
        </pc:spChg>
        <pc:spChg chg="add mod">
          <ac:chgData name="Matthias Scholer" userId="daad25a6-aca0-4d73-8528-03a468fe8ab9" providerId="ADAL" clId="{1CD88113-8D16-4663-96C7-ACB351AC704F}" dt="2023-12-12T08:11:03.006" v="66" actId="14100"/>
          <ac:spMkLst>
            <pc:docMk/>
            <pc:sldMk cId="2539669609" sldId="684"/>
            <ac:spMk id="8" creationId="{9E79A1AD-044A-C2AC-FD8D-10DE5B7FC96E}"/>
          </ac:spMkLst>
        </pc:spChg>
        <pc:picChg chg="add mod">
          <ac:chgData name="Matthias Scholer" userId="daad25a6-aca0-4d73-8528-03a468fe8ab9" providerId="ADAL" clId="{1CD88113-8D16-4663-96C7-ACB351AC704F}" dt="2023-12-12T08:10:35.790" v="57" actId="1076"/>
          <ac:picMkLst>
            <pc:docMk/>
            <pc:sldMk cId="2539669609" sldId="684"/>
            <ac:picMk id="6" creationId="{890517BF-F516-7651-CA20-96F1CD435C02}"/>
          </ac:picMkLst>
        </pc:picChg>
      </pc:sldChg>
      <pc:sldChg chg="modSp add del mod">
        <pc:chgData name="Matthias Scholer" userId="daad25a6-aca0-4d73-8528-03a468fe8ab9" providerId="ADAL" clId="{1CD88113-8D16-4663-96C7-ACB351AC704F}" dt="2023-12-12T07:47:51.104" v="18"/>
        <pc:sldMkLst>
          <pc:docMk/>
          <pc:sldMk cId="1675678487" sldId="685"/>
        </pc:sldMkLst>
        <pc:spChg chg="mod">
          <ac:chgData name="Matthias Scholer" userId="daad25a6-aca0-4d73-8528-03a468fe8ab9" providerId="ADAL" clId="{1CD88113-8D16-4663-96C7-ACB351AC704F}" dt="2023-12-12T07:47:51.104" v="18"/>
          <ac:spMkLst>
            <pc:docMk/>
            <pc:sldMk cId="1675678487" sldId="685"/>
            <ac:spMk id="49154" creationId="{00000000-0000-0000-0000-000000000000}"/>
          </ac:spMkLst>
        </pc:spChg>
      </pc:sldChg>
      <pc:sldChg chg="addSp delSp modSp add mod">
        <pc:chgData name="Matthias Scholer" userId="daad25a6-aca0-4d73-8528-03a468fe8ab9" providerId="ADAL" clId="{1CD88113-8D16-4663-96C7-ACB351AC704F}" dt="2023-12-12T08:12:25.077" v="72" actId="14100"/>
        <pc:sldMkLst>
          <pc:docMk/>
          <pc:sldMk cId="1863733049" sldId="685"/>
        </pc:sldMkLst>
        <pc:picChg chg="add mod">
          <ac:chgData name="Matthias Scholer" userId="daad25a6-aca0-4d73-8528-03a468fe8ab9" providerId="ADAL" clId="{1CD88113-8D16-4663-96C7-ACB351AC704F}" dt="2023-12-12T08:12:25.077" v="72" actId="14100"/>
          <ac:picMkLst>
            <pc:docMk/>
            <pc:sldMk cId="1863733049" sldId="685"/>
            <ac:picMk id="2" creationId="{D7FCEC39-C48A-532F-01EA-1FAD5FF5A16C}"/>
          </ac:picMkLst>
        </pc:picChg>
        <pc:picChg chg="del">
          <ac:chgData name="Matthias Scholer" userId="daad25a6-aca0-4d73-8528-03a468fe8ab9" providerId="ADAL" clId="{1CD88113-8D16-4663-96C7-ACB351AC704F}" dt="2023-12-12T08:12:17.187" v="68" actId="478"/>
          <ac:picMkLst>
            <pc:docMk/>
            <pc:sldMk cId="1863733049" sldId="685"/>
            <ac:picMk id="6" creationId="{890517BF-F516-7651-CA20-96F1CD435C02}"/>
          </ac:picMkLst>
        </pc:picChg>
      </pc:sldChg>
      <pc:sldChg chg="modSp new mod">
        <pc:chgData name="Matthias Scholer" userId="daad25a6-aca0-4d73-8528-03a468fe8ab9" providerId="ADAL" clId="{1CD88113-8D16-4663-96C7-ACB351AC704F}" dt="2023-12-12T08:13:58.092" v="89"/>
        <pc:sldMkLst>
          <pc:docMk/>
          <pc:sldMk cId="1894509937" sldId="686"/>
        </pc:sldMkLst>
        <pc:spChg chg="mod">
          <ac:chgData name="Matthias Scholer" userId="daad25a6-aca0-4d73-8528-03a468fe8ab9" providerId="ADAL" clId="{1CD88113-8D16-4663-96C7-ACB351AC704F}" dt="2023-12-12T08:13:58.092" v="89"/>
          <ac:spMkLst>
            <pc:docMk/>
            <pc:sldMk cId="1894509937" sldId="686"/>
            <ac:spMk id="2" creationId="{2C39D97A-17A0-FD9D-5EA0-F1B4F3C433E8}"/>
          </ac:spMkLst>
        </pc:spChg>
        <pc:spChg chg="mod">
          <ac:chgData name="Matthias Scholer" userId="daad25a6-aca0-4d73-8528-03a468fe8ab9" providerId="ADAL" clId="{1CD88113-8D16-4663-96C7-ACB351AC704F}" dt="2023-12-12T08:13:34.661" v="87" actId="20577"/>
          <ac:spMkLst>
            <pc:docMk/>
            <pc:sldMk cId="1894509937" sldId="686"/>
            <ac:spMk id="3" creationId="{C23B6904-F8F0-845A-FB08-65B3D5AD1A10}"/>
          </ac:spMkLst>
        </pc:spChg>
      </pc:sldChg>
      <pc:sldChg chg="modSp new mod">
        <pc:chgData name="Matthias Scholer" userId="daad25a6-aca0-4d73-8528-03a468fe8ab9" providerId="ADAL" clId="{1CD88113-8D16-4663-96C7-ACB351AC704F}" dt="2023-12-12T08:16:06.319" v="105" actId="1076"/>
        <pc:sldMkLst>
          <pc:docMk/>
          <pc:sldMk cId="3635348943" sldId="687"/>
        </pc:sldMkLst>
        <pc:spChg chg="mod">
          <ac:chgData name="Matthias Scholer" userId="daad25a6-aca0-4d73-8528-03a468fe8ab9" providerId="ADAL" clId="{1CD88113-8D16-4663-96C7-ACB351AC704F}" dt="2023-12-12T08:16:06.319" v="105" actId="1076"/>
          <ac:spMkLst>
            <pc:docMk/>
            <pc:sldMk cId="3635348943" sldId="687"/>
            <ac:spMk id="2" creationId="{93237F25-D98A-8CD8-5448-9BE9F9CB22F9}"/>
          </ac:spMkLst>
        </pc:spChg>
        <pc:spChg chg="mod">
          <ac:chgData name="Matthias Scholer" userId="daad25a6-aca0-4d73-8528-03a468fe8ab9" providerId="ADAL" clId="{1CD88113-8D16-4663-96C7-ACB351AC704F}" dt="2023-12-12T08:14:25.588" v="97" actId="20577"/>
          <ac:spMkLst>
            <pc:docMk/>
            <pc:sldMk cId="3635348943" sldId="687"/>
            <ac:spMk id="3" creationId="{26C6F50E-F0BC-0BF3-917C-272F5986C3C4}"/>
          </ac:spMkLst>
        </pc:spChg>
      </pc:sldChg>
      <pc:sldChg chg="modSp new mod">
        <pc:chgData name="Matthias Scholer" userId="daad25a6-aca0-4d73-8528-03a468fe8ab9" providerId="ADAL" clId="{1CD88113-8D16-4663-96C7-ACB351AC704F}" dt="2023-12-13T07:53:47.344" v="195"/>
        <pc:sldMkLst>
          <pc:docMk/>
          <pc:sldMk cId="2511637383" sldId="688"/>
        </pc:sldMkLst>
        <pc:spChg chg="mod">
          <ac:chgData name="Matthias Scholer" userId="daad25a6-aca0-4d73-8528-03a468fe8ab9" providerId="ADAL" clId="{1CD88113-8D16-4663-96C7-ACB351AC704F}" dt="2023-12-13T07:53:47.344" v="195"/>
          <ac:spMkLst>
            <pc:docMk/>
            <pc:sldMk cId="2511637383" sldId="688"/>
            <ac:spMk id="2" creationId="{4F3E25F7-D9E7-98B6-E215-CBF62A0650A2}"/>
          </ac:spMkLst>
        </pc:spChg>
        <pc:spChg chg="mod">
          <ac:chgData name="Matthias Scholer" userId="daad25a6-aca0-4d73-8528-03a468fe8ab9" providerId="ADAL" clId="{1CD88113-8D16-4663-96C7-ACB351AC704F}" dt="2023-12-13T07:51:05.198" v="124" actId="20577"/>
          <ac:spMkLst>
            <pc:docMk/>
            <pc:sldMk cId="2511637383" sldId="688"/>
            <ac:spMk id="3" creationId="{7CFE2F17-B4B8-A1C7-09AA-868BA8C2A40A}"/>
          </ac:spMkLst>
        </pc:spChg>
      </pc:sldChg>
      <pc:sldChg chg="addSp modSp new mod">
        <pc:chgData name="Matthias Scholer" userId="daad25a6-aca0-4d73-8528-03a468fe8ab9" providerId="ADAL" clId="{1CD88113-8D16-4663-96C7-ACB351AC704F}" dt="2023-12-13T07:56:25.544" v="214"/>
        <pc:sldMkLst>
          <pc:docMk/>
          <pc:sldMk cId="176412560" sldId="689"/>
        </pc:sldMkLst>
        <pc:spChg chg="mod">
          <ac:chgData name="Matthias Scholer" userId="daad25a6-aca0-4d73-8528-03a468fe8ab9" providerId="ADAL" clId="{1CD88113-8D16-4663-96C7-ACB351AC704F}" dt="2023-12-13T07:56:25.544" v="214"/>
          <ac:spMkLst>
            <pc:docMk/>
            <pc:sldMk cId="176412560" sldId="689"/>
            <ac:spMk id="2" creationId="{15D64DCA-58D3-7BD3-43EB-071566090D21}"/>
          </ac:spMkLst>
        </pc:spChg>
        <pc:spChg chg="mod">
          <ac:chgData name="Matthias Scholer" userId="daad25a6-aca0-4d73-8528-03a468fe8ab9" providerId="ADAL" clId="{1CD88113-8D16-4663-96C7-ACB351AC704F}" dt="2023-12-13T07:52:01.171" v="157" actId="20577"/>
          <ac:spMkLst>
            <pc:docMk/>
            <pc:sldMk cId="176412560" sldId="689"/>
            <ac:spMk id="3" creationId="{88EA8D82-200C-F62B-C08D-4E7C17B6A48E}"/>
          </ac:spMkLst>
        </pc:spChg>
        <pc:picChg chg="add mod">
          <ac:chgData name="Matthias Scholer" userId="daad25a6-aca0-4d73-8528-03a468fe8ab9" providerId="ADAL" clId="{1CD88113-8D16-4663-96C7-ACB351AC704F}" dt="2023-12-13T07:56:17.748" v="211" actId="1076"/>
          <ac:picMkLst>
            <pc:docMk/>
            <pc:sldMk cId="176412560" sldId="689"/>
            <ac:picMk id="6" creationId="{A88E3760-2357-8802-F981-887195921A53}"/>
          </ac:picMkLst>
        </pc:picChg>
      </pc:sldChg>
      <pc:sldChg chg="modSp new mod">
        <pc:chgData name="Matthias Scholer" userId="daad25a6-aca0-4d73-8528-03a468fe8ab9" providerId="ADAL" clId="{1CD88113-8D16-4663-96C7-ACB351AC704F}" dt="2023-12-13T07:53:25.974" v="193" actId="20577"/>
        <pc:sldMkLst>
          <pc:docMk/>
          <pc:sldMk cId="2609909440" sldId="690"/>
        </pc:sldMkLst>
        <pc:spChg chg="mod">
          <ac:chgData name="Matthias Scholer" userId="daad25a6-aca0-4d73-8528-03a468fe8ab9" providerId="ADAL" clId="{1CD88113-8D16-4663-96C7-ACB351AC704F}" dt="2023-12-13T07:53:25.974" v="193" actId="20577"/>
          <ac:spMkLst>
            <pc:docMk/>
            <pc:sldMk cId="2609909440" sldId="690"/>
            <ac:spMk id="3" creationId="{9BE50E0A-F2D1-8348-DB0D-5029100D8960}"/>
          </ac:spMkLst>
        </pc:spChg>
      </pc:sldChg>
      <pc:sldChg chg="modSp new mod">
        <pc:chgData name="Matthias Scholer" userId="daad25a6-aca0-4d73-8528-03a468fe8ab9" providerId="ADAL" clId="{1CD88113-8D16-4663-96C7-ACB351AC704F}" dt="2023-12-13T07:54:57.906" v="202"/>
        <pc:sldMkLst>
          <pc:docMk/>
          <pc:sldMk cId="648259259" sldId="691"/>
        </pc:sldMkLst>
        <pc:spChg chg="mod">
          <ac:chgData name="Matthias Scholer" userId="daad25a6-aca0-4d73-8528-03a468fe8ab9" providerId="ADAL" clId="{1CD88113-8D16-4663-96C7-ACB351AC704F}" dt="2023-12-13T07:54:47.554" v="201"/>
          <ac:spMkLst>
            <pc:docMk/>
            <pc:sldMk cId="648259259" sldId="691"/>
            <ac:spMk id="2" creationId="{44C4EA80-9543-1BD8-2DC3-B06A30409C0E}"/>
          </ac:spMkLst>
        </pc:spChg>
        <pc:spChg chg="mod">
          <ac:chgData name="Matthias Scholer" userId="daad25a6-aca0-4d73-8528-03a468fe8ab9" providerId="ADAL" clId="{1CD88113-8D16-4663-96C7-ACB351AC704F}" dt="2023-12-13T07:54:57.906" v="202"/>
          <ac:spMkLst>
            <pc:docMk/>
            <pc:sldMk cId="648259259" sldId="691"/>
            <ac:spMk id="3" creationId="{6EB920F7-5B52-5000-A8C9-9EB348C7F4D5}"/>
          </ac:spMkLst>
        </pc:spChg>
      </pc:sldChg>
      <pc:sldChg chg="addSp modSp new mod">
        <pc:chgData name="Matthias Scholer" userId="daad25a6-aca0-4d73-8528-03a468fe8ab9" providerId="ADAL" clId="{1CD88113-8D16-4663-96C7-ACB351AC704F}" dt="2023-12-13T07:55:30.296" v="209"/>
        <pc:sldMkLst>
          <pc:docMk/>
          <pc:sldMk cId="1632569237" sldId="692"/>
        </pc:sldMkLst>
        <pc:spChg chg="mod">
          <ac:chgData name="Matthias Scholer" userId="daad25a6-aca0-4d73-8528-03a468fe8ab9" providerId="ADAL" clId="{1CD88113-8D16-4663-96C7-ACB351AC704F}" dt="2023-12-13T07:55:18.407" v="206"/>
          <ac:spMkLst>
            <pc:docMk/>
            <pc:sldMk cId="1632569237" sldId="692"/>
            <ac:spMk id="2" creationId="{55C3E36B-75E8-F3FC-DAA5-53D91397D9C0}"/>
          </ac:spMkLst>
        </pc:spChg>
        <pc:spChg chg="mod">
          <ac:chgData name="Matthias Scholer" userId="daad25a6-aca0-4d73-8528-03a468fe8ab9" providerId="ADAL" clId="{1CD88113-8D16-4663-96C7-ACB351AC704F}" dt="2023-12-13T07:55:30.296" v="209"/>
          <ac:spMkLst>
            <pc:docMk/>
            <pc:sldMk cId="1632569237" sldId="692"/>
            <ac:spMk id="3" creationId="{6B322F93-CF21-6E2F-4600-A69B4E3442D0}"/>
          </ac:spMkLst>
        </pc:spChg>
        <pc:picChg chg="add mod">
          <ac:chgData name="Matthias Scholer" userId="daad25a6-aca0-4d73-8528-03a468fe8ab9" providerId="ADAL" clId="{1CD88113-8D16-4663-96C7-ACB351AC704F}" dt="2023-12-13T07:55:11.498" v="204"/>
          <ac:picMkLst>
            <pc:docMk/>
            <pc:sldMk cId="1632569237" sldId="692"/>
            <ac:picMk id="6" creationId="{11F590CA-7B54-E317-8B68-E719ADCA3313}"/>
          </ac:picMkLst>
        </pc:picChg>
      </pc:sldChg>
      <pc:sldChg chg="modSp new mod">
        <pc:chgData name="Matthias Scholer" userId="daad25a6-aca0-4d73-8528-03a468fe8ab9" providerId="ADAL" clId="{1CD88113-8D16-4663-96C7-ACB351AC704F}" dt="2023-12-13T07:56:43.255" v="220"/>
        <pc:sldMkLst>
          <pc:docMk/>
          <pc:sldMk cId="771731340" sldId="693"/>
        </pc:sldMkLst>
        <pc:spChg chg="mod">
          <ac:chgData name="Matthias Scholer" userId="daad25a6-aca0-4d73-8528-03a468fe8ab9" providerId="ADAL" clId="{1CD88113-8D16-4663-96C7-ACB351AC704F}" dt="2023-12-13T07:56:35.067" v="215"/>
          <ac:spMkLst>
            <pc:docMk/>
            <pc:sldMk cId="771731340" sldId="693"/>
            <ac:spMk id="2" creationId="{1A3FB637-7C19-A17D-5499-A72FBD315846}"/>
          </ac:spMkLst>
        </pc:spChg>
        <pc:spChg chg="mod">
          <ac:chgData name="Matthias Scholer" userId="daad25a6-aca0-4d73-8528-03a468fe8ab9" providerId="ADAL" clId="{1CD88113-8D16-4663-96C7-ACB351AC704F}" dt="2023-12-13T07:56:43.255" v="220"/>
          <ac:spMkLst>
            <pc:docMk/>
            <pc:sldMk cId="771731340" sldId="693"/>
            <ac:spMk id="3" creationId="{8E995035-27FB-B2F4-5F27-7BB0904BBDFF}"/>
          </ac:spMkLst>
        </pc:spChg>
      </pc:sldChg>
      <pc:sldChg chg="addSp delSp modSp new mod">
        <pc:chgData name="Matthias Scholer" userId="daad25a6-aca0-4d73-8528-03a468fe8ab9" providerId="ADAL" clId="{1CD88113-8D16-4663-96C7-ACB351AC704F}" dt="2023-12-13T12:56:16.374" v="249"/>
        <pc:sldMkLst>
          <pc:docMk/>
          <pc:sldMk cId="643288998" sldId="694"/>
        </pc:sldMkLst>
        <pc:spChg chg="del">
          <ac:chgData name="Matthias Scholer" userId="daad25a6-aca0-4d73-8528-03a468fe8ab9" providerId="ADAL" clId="{1CD88113-8D16-4663-96C7-ACB351AC704F}" dt="2023-12-13T08:13:19.611" v="222" actId="478"/>
          <ac:spMkLst>
            <pc:docMk/>
            <pc:sldMk cId="643288998" sldId="694"/>
            <ac:spMk id="2" creationId="{AB722339-CF43-04C0-3C8E-37D2CEFB23F3}"/>
          </ac:spMkLst>
        </pc:spChg>
        <pc:spChg chg="add mod">
          <ac:chgData name="Matthias Scholer" userId="daad25a6-aca0-4d73-8528-03a468fe8ab9" providerId="ADAL" clId="{1CD88113-8D16-4663-96C7-ACB351AC704F}" dt="2023-12-13T12:56:16.374" v="249"/>
          <ac:spMkLst>
            <pc:docMk/>
            <pc:sldMk cId="643288998" sldId="694"/>
            <ac:spMk id="7" creationId="{37032C3E-2DC1-83AA-862B-8193C62FAC5C}"/>
          </ac:spMkLst>
        </pc:spChg>
        <pc:picChg chg="add mod">
          <ac:chgData name="Matthias Scholer" userId="daad25a6-aca0-4d73-8528-03a468fe8ab9" providerId="ADAL" clId="{1CD88113-8D16-4663-96C7-ACB351AC704F}" dt="2023-12-13T12:49:29.018" v="233" actId="1076"/>
          <ac:picMkLst>
            <pc:docMk/>
            <pc:sldMk cId="643288998" sldId="694"/>
            <ac:picMk id="9" creationId="{1B7EDCA7-2431-FBF2-77E1-1F0807FD4FFD}"/>
          </ac:picMkLst>
        </pc:picChg>
        <pc:picChg chg="add mod">
          <ac:chgData name="Matthias Scholer" userId="daad25a6-aca0-4d73-8528-03a468fe8ab9" providerId="ADAL" clId="{1CD88113-8D16-4663-96C7-ACB351AC704F}" dt="2023-12-13T08:13:35.484" v="229" actId="1076"/>
          <ac:picMkLst>
            <pc:docMk/>
            <pc:sldMk cId="643288998" sldId="694"/>
            <ac:picMk id="1026" creationId="{9915A0B1-D407-13DD-999F-2C35FCDE6A27}"/>
          </ac:picMkLst>
        </pc:picChg>
      </pc:sldChg>
      <pc:sldChg chg="addSp modSp new mod">
        <pc:chgData name="Matthias Scholer" userId="daad25a6-aca0-4d73-8528-03a468fe8ab9" providerId="ADAL" clId="{1CD88113-8D16-4663-96C7-ACB351AC704F}" dt="2023-12-19T08:49:12.795" v="259" actId="27636"/>
        <pc:sldMkLst>
          <pc:docMk/>
          <pc:sldMk cId="187554935" sldId="695"/>
        </pc:sldMkLst>
        <pc:spChg chg="mod">
          <ac:chgData name="Matthias Scholer" userId="daad25a6-aca0-4d73-8528-03a468fe8ab9" providerId="ADAL" clId="{1CD88113-8D16-4663-96C7-ACB351AC704F}" dt="2023-12-13T12:54:55.242" v="242" actId="14100"/>
          <ac:spMkLst>
            <pc:docMk/>
            <pc:sldMk cId="187554935" sldId="695"/>
            <ac:spMk id="2" creationId="{A6BC22C7-777C-5638-4741-F74E49AD19B3}"/>
          </ac:spMkLst>
        </pc:spChg>
        <pc:spChg chg="mod">
          <ac:chgData name="Matthias Scholer" userId="daad25a6-aca0-4d73-8528-03a468fe8ab9" providerId="ADAL" clId="{1CD88113-8D16-4663-96C7-ACB351AC704F}" dt="2023-12-19T08:49:12.795" v="259" actId="27636"/>
          <ac:spMkLst>
            <pc:docMk/>
            <pc:sldMk cId="187554935" sldId="695"/>
            <ac:spMk id="3" creationId="{64773EAF-8FAA-38B6-2498-E61DAD9958AC}"/>
          </ac:spMkLst>
        </pc:spChg>
        <pc:picChg chg="add mod">
          <ac:chgData name="Matthias Scholer" userId="daad25a6-aca0-4d73-8528-03a468fe8ab9" providerId="ADAL" clId="{1CD88113-8D16-4663-96C7-ACB351AC704F}" dt="2023-12-13T12:54:52.565" v="240" actId="1076"/>
          <ac:picMkLst>
            <pc:docMk/>
            <pc:sldMk cId="187554935" sldId="695"/>
            <ac:picMk id="7" creationId="{7B127D8E-EA7E-87D9-F959-48E8863DEE04}"/>
          </ac:picMkLst>
        </pc:picChg>
      </pc:sldChg>
      <pc:sldChg chg="modSp new mod">
        <pc:chgData name="Matthias Scholer" userId="daad25a6-aca0-4d73-8528-03a468fe8ab9" providerId="ADAL" clId="{1CD88113-8D16-4663-96C7-ACB351AC704F}" dt="2023-12-19T08:49:12.791" v="258" actId="27636"/>
        <pc:sldMkLst>
          <pc:docMk/>
          <pc:sldMk cId="1598037602" sldId="696"/>
        </pc:sldMkLst>
        <pc:spChg chg="mod">
          <ac:chgData name="Matthias Scholer" userId="daad25a6-aca0-4d73-8528-03a468fe8ab9" providerId="ADAL" clId="{1CD88113-8D16-4663-96C7-ACB351AC704F}" dt="2023-12-13T12:54:40.286" v="239" actId="20577"/>
          <ac:spMkLst>
            <pc:docMk/>
            <pc:sldMk cId="1598037602" sldId="696"/>
            <ac:spMk id="2" creationId="{A04BA0F2-3DAE-59FA-E8F0-CED3AF915B48}"/>
          </ac:spMkLst>
        </pc:spChg>
        <pc:spChg chg="mod">
          <ac:chgData name="Matthias Scholer" userId="daad25a6-aca0-4d73-8528-03a468fe8ab9" providerId="ADAL" clId="{1CD88113-8D16-4663-96C7-ACB351AC704F}" dt="2023-12-19T08:49:12.791" v="258" actId="27636"/>
          <ac:spMkLst>
            <pc:docMk/>
            <pc:sldMk cId="1598037602" sldId="696"/>
            <ac:spMk id="3" creationId="{144E83B3-8C24-D887-083A-78BEA01F33F5}"/>
          </ac:spMkLst>
        </pc:spChg>
      </pc:sldChg>
      <pc:sldChg chg="new del ord">
        <pc:chgData name="Matthias Scholer" userId="daad25a6-aca0-4d73-8528-03a468fe8ab9" providerId="ADAL" clId="{1CD88113-8D16-4663-96C7-ACB351AC704F}" dt="2023-12-19T08:49:09.946" v="254" actId="47"/>
        <pc:sldMkLst>
          <pc:docMk/>
          <pc:sldMk cId="3673531283" sldId="697"/>
        </pc:sldMkLst>
      </pc:sldChg>
      <pc:sldChg chg="addSp delSp modSp new mod">
        <pc:chgData name="Matthias Scholer" userId="daad25a6-aca0-4d73-8528-03a468fe8ab9" providerId="ADAL" clId="{1CD88113-8D16-4663-96C7-ACB351AC704F}" dt="2023-12-19T10:16:23.520" v="315" actId="1076"/>
        <pc:sldMkLst>
          <pc:docMk/>
          <pc:sldMk cId="2283720192" sldId="698"/>
        </pc:sldMkLst>
        <pc:spChg chg="del">
          <ac:chgData name="Matthias Scholer" userId="daad25a6-aca0-4d73-8528-03a468fe8ab9" providerId="ADAL" clId="{1CD88113-8D16-4663-96C7-ACB351AC704F}" dt="2023-12-19T08:49:12.409" v="255" actId="478"/>
          <ac:spMkLst>
            <pc:docMk/>
            <pc:sldMk cId="2283720192" sldId="698"/>
            <ac:spMk id="2" creationId="{5805FD48-4B96-9E8D-F4BC-98DDE4C9B147}"/>
          </ac:spMkLst>
        </pc:spChg>
        <pc:spChg chg="mod">
          <ac:chgData name="Matthias Scholer" userId="daad25a6-aca0-4d73-8528-03a468fe8ab9" providerId="ADAL" clId="{1CD88113-8D16-4663-96C7-ACB351AC704F}" dt="2023-12-19T10:08:17.099" v="270" actId="948"/>
          <ac:spMkLst>
            <pc:docMk/>
            <pc:sldMk cId="2283720192" sldId="698"/>
            <ac:spMk id="3" creationId="{413908C4-3893-40DE-3DAC-81E6BF73CBD1}"/>
          </ac:spMkLst>
        </pc:spChg>
        <pc:spChg chg="add mod">
          <ac:chgData name="Matthias Scholer" userId="daad25a6-aca0-4d73-8528-03a468fe8ab9" providerId="ADAL" clId="{1CD88113-8D16-4663-96C7-ACB351AC704F}" dt="2023-12-19T10:16:23.520" v="315" actId="1076"/>
          <ac:spMkLst>
            <pc:docMk/>
            <pc:sldMk cId="2283720192" sldId="698"/>
            <ac:spMk id="7" creationId="{D1ACA142-80A6-CAC5-294E-C1506E1CD00F}"/>
          </ac:spMkLst>
        </pc:spChg>
        <pc:picChg chg="add mod">
          <ac:chgData name="Matthias Scholer" userId="daad25a6-aca0-4d73-8528-03a468fe8ab9" providerId="ADAL" clId="{1CD88113-8D16-4663-96C7-ACB351AC704F}" dt="2023-12-19T10:07:39.303" v="268" actId="1076"/>
          <ac:picMkLst>
            <pc:docMk/>
            <pc:sldMk cId="2283720192" sldId="698"/>
            <ac:picMk id="6" creationId="{A0CE390D-CC8B-1EDE-0B29-1AF349617676}"/>
          </ac:picMkLst>
        </pc:picChg>
      </pc:sldChg>
      <pc:sldChg chg="modSp new mod">
        <pc:chgData name="Matthias Scholer" userId="daad25a6-aca0-4d73-8528-03a468fe8ab9" providerId="ADAL" clId="{1CD88113-8D16-4663-96C7-ACB351AC704F}" dt="2023-12-19T10:09:36.398" v="279" actId="20577"/>
        <pc:sldMkLst>
          <pc:docMk/>
          <pc:sldMk cId="1877148032" sldId="699"/>
        </pc:sldMkLst>
        <pc:spChg chg="mod">
          <ac:chgData name="Matthias Scholer" userId="daad25a6-aca0-4d73-8528-03a468fe8ab9" providerId="ADAL" clId="{1CD88113-8D16-4663-96C7-ACB351AC704F}" dt="2023-12-19T10:09:36.398" v="279" actId="20577"/>
          <ac:spMkLst>
            <pc:docMk/>
            <pc:sldMk cId="1877148032" sldId="699"/>
            <ac:spMk id="2" creationId="{5F59BFE5-BE57-6E66-8535-BA45E08CF79A}"/>
          </ac:spMkLst>
        </pc:spChg>
        <pc:spChg chg="mod">
          <ac:chgData name="Matthias Scholer" userId="daad25a6-aca0-4d73-8528-03a468fe8ab9" providerId="ADAL" clId="{1CD88113-8D16-4663-96C7-ACB351AC704F}" dt="2023-12-19T10:09:24.961" v="276" actId="20577"/>
          <ac:spMkLst>
            <pc:docMk/>
            <pc:sldMk cId="1877148032" sldId="699"/>
            <ac:spMk id="3" creationId="{D721E88B-0AD0-4AC2-7937-3BD32AF635EE}"/>
          </ac:spMkLst>
        </pc:spChg>
      </pc:sldChg>
      <pc:sldChg chg="modSp new mod">
        <pc:chgData name="Matthias Scholer" userId="daad25a6-aca0-4d73-8528-03a468fe8ab9" providerId="ADAL" clId="{1CD88113-8D16-4663-96C7-ACB351AC704F}" dt="2023-12-19T10:10:11.363" v="283"/>
        <pc:sldMkLst>
          <pc:docMk/>
          <pc:sldMk cId="3101254839" sldId="700"/>
        </pc:sldMkLst>
        <pc:spChg chg="mod">
          <ac:chgData name="Matthias Scholer" userId="daad25a6-aca0-4d73-8528-03a468fe8ab9" providerId="ADAL" clId="{1CD88113-8D16-4663-96C7-ACB351AC704F}" dt="2023-12-19T10:10:11.363" v="283"/>
          <ac:spMkLst>
            <pc:docMk/>
            <pc:sldMk cId="3101254839" sldId="700"/>
            <ac:spMk id="2" creationId="{E6368700-CF52-3320-5859-BC93A3D933E6}"/>
          </ac:spMkLst>
        </pc:spChg>
        <pc:spChg chg="mod">
          <ac:chgData name="Matthias Scholer" userId="daad25a6-aca0-4d73-8528-03a468fe8ab9" providerId="ADAL" clId="{1CD88113-8D16-4663-96C7-ACB351AC704F}" dt="2023-12-19T10:09:54.786" v="282" actId="27636"/>
          <ac:spMkLst>
            <pc:docMk/>
            <pc:sldMk cId="3101254839" sldId="700"/>
            <ac:spMk id="3" creationId="{A5D1ADBD-BEB5-E7DF-770C-130614EC3AC6}"/>
          </ac:spMkLst>
        </pc:spChg>
      </pc:sldChg>
      <pc:sldChg chg="addSp modSp new mod">
        <pc:chgData name="Matthias Scholer" userId="daad25a6-aca0-4d73-8528-03a468fe8ab9" providerId="ADAL" clId="{1CD88113-8D16-4663-96C7-ACB351AC704F}" dt="2023-12-19T10:10:41.792" v="289"/>
        <pc:sldMkLst>
          <pc:docMk/>
          <pc:sldMk cId="106265944" sldId="701"/>
        </pc:sldMkLst>
        <pc:spChg chg="mod">
          <ac:chgData name="Matthias Scholer" userId="daad25a6-aca0-4d73-8528-03a468fe8ab9" providerId="ADAL" clId="{1CD88113-8D16-4663-96C7-ACB351AC704F}" dt="2023-12-19T10:10:41.792" v="289"/>
          <ac:spMkLst>
            <pc:docMk/>
            <pc:sldMk cId="106265944" sldId="701"/>
            <ac:spMk id="2" creationId="{651455FB-B7F8-626E-E8EA-1C3F3E189DC0}"/>
          </ac:spMkLst>
        </pc:spChg>
        <pc:spChg chg="mod">
          <ac:chgData name="Matthias Scholer" userId="daad25a6-aca0-4d73-8528-03a468fe8ab9" providerId="ADAL" clId="{1CD88113-8D16-4663-96C7-ACB351AC704F}" dt="2023-12-19T10:10:28.200" v="286" actId="27636"/>
          <ac:spMkLst>
            <pc:docMk/>
            <pc:sldMk cId="106265944" sldId="701"/>
            <ac:spMk id="3" creationId="{FF51578D-9CB1-9B4B-5438-AEFE2F33C18E}"/>
          </ac:spMkLst>
        </pc:spChg>
        <pc:picChg chg="add mod">
          <ac:chgData name="Matthias Scholer" userId="daad25a6-aca0-4d73-8528-03a468fe8ab9" providerId="ADAL" clId="{1CD88113-8D16-4663-96C7-ACB351AC704F}" dt="2023-12-19T10:10:34.637" v="288" actId="1076"/>
          <ac:picMkLst>
            <pc:docMk/>
            <pc:sldMk cId="106265944" sldId="701"/>
            <ac:picMk id="6" creationId="{110BB298-02AB-D8C1-072E-CB3390FA9049}"/>
          </ac:picMkLst>
        </pc:picChg>
      </pc:sldChg>
      <pc:sldChg chg="new">
        <pc:chgData name="Matthias Scholer" userId="daad25a6-aca0-4d73-8528-03a468fe8ab9" providerId="ADAL" clId="{1CD88113-8D16-4663-96C7-ACB351AC704F}" dt="2023-12-19T10:18:40.412" v="316" actId="680"/>
        <pc:sldMkLst>
          <pc:docMk/>
          <pc:sldMk cId="4278573435" sldId="702"/>
        </pc:sldMkLst>
      </pc:sldChg>
      <pc:sldChg chg="addSp modSp new mod">
        <pc:chgData name="Matthias Scholer" userId="daad25a6-aca0-4d73-8528-03a468fe8ab9" providerId="ADAL" clId="{1CD88113-8D16-4663-96C7-ACB351AC704F}" dt="2023-12-20T15:03:14.545" v="341" actId="207"/>
        <pc:sldMkLst>
          <pc:docMk/>
          <pc:sldMk cId="1060674928" sldId="703"/>
        </pc:sldMkLst>
        <pc:spChg chg="mod">
          <ac:chgData name="Matthias Scholer" userId="daad25a6-aca0-4d73-8528-03a468fe8ab9" providerId="ADAL" clId="{1CD88113-8D16-4663-96C7-ACB351AC704F}" dt="2023-12-20T15:02:16.272" v="337"/>
          <ac:spMkLst>
            <pc:docMk/>
            <pc:sldMk cId="1060674928" sldId="703"/>
            <ac:spMk id="2" creationId="{95705966-833C-F70C-6E35-D74067BAF481}"/>
          </ac:spMkLst>
        </pc:spChg>
        <pc:spChg chg="mod">
          <ac:chgData name="Matthias Scholer" userId="daad25a6-aca0-4d73-8528-03a468fe8ab9" providerId="ADAL" clId="{1CD88113-8D16-4663-96C7-ACB351AC704F}" dt="2023-12-20T15:02:08.549" v="336" actId="20577"/>
          <ac:spMkLst>
            <pc:docMk/>
            <pc:sldMk cId="1060674928" sldId="703"/>
            <ac:spMk id="3" creationId="{A80FD166-96C2-FBB3-A544-83A1647806B6}"/>
          </ac:spMkLst>
        </pc:spChg>
        <pc:spChg chg="add mod">
          <ac:chgData name="Matthias Scholer" userId="daad25a6-aca0-4d73-8528-03a468fe8ab9" providerId="ADAL" clId="{1CD88113-8D16-4663-96C7-ACB351AC704F}" dt="2023-12-20T15:03:14.545" v="341" actId="207"/>
          <ac:spMkLst>
            <pc:docMk/>
            <pc:sldMk cId="1060674928" sldId="703"/>
            <ac:spMk id="8" creationId="{4DF95503-E614-9888-66DF-7E3385E9D274}"/>
          </ac:spMkLst>
        </pc:spChg>
        <pc:picChg chg="add">
          <ac:chgData name="Matthias Scholer" userId="daad25a6-aca0-4d73-8528-03a468fe8ab9" providerId="ADAL" clId="{1CD88113-8D16-4663-96C7-ACB351AC704F}" dt="2023-12-20T15:02:28.132" v="338" actId="22"/>
          <ac:picMkLst>
            <pc:docMk/>
            <pc:sldMk cId="1060674928" sldId="703"/>
            <ac:picMk id="7" creationId="{9C99B865-0F9B-D000-A39F-F42E9F816060}"/>
          </ac:picMkLst>
        </pc:picChg>
      </pc:sldChg>
    </pc:docChg>
  </pc:docChgLst>
  <pc:docChgLst>
    <pc:chgData name="Matthias Scholer" userId="daad25a6-aca0-4d73-8528-03a468fe8ab9" providerId="ADAL" clId="{16F4BA2C-4F2E-4696-8E44-25A7C016F193}"/>
    <pc:docChg chg="undo custSel addSld delSld modSld modMainMaster">
      <pc:chgData name="Matthias Scholer" userId="daad25a6-aca0-4d73-8528-03a468fe8ab9" providerId="ADAL" clId="{16F4BA2C-4F2E-4696-8E44-25A7C016F193}" dt="2023-07-04T08:00:32.996" v="166" actId="108"/>
      <pc:docMkLst>
        <pc:docMk/>
      </pc:docMkLst>
      <pc:sldChg chg="del">
        <pc:chgData name="Matthias Scholer" userId="daad25a6-aca0-4d73-8528-03a468fe8ab9" providerId="ADAL" clId="{16F4BA2C-4F2E-4696-8E44-25A7C016F193}" dt="2023-07-04T07:55:53.799" v="56" actId="47"/>
        <pc:sldMkLst>
          <pc:docMk/>
          <pc:sldMk cId="125306399" sldId="287"/>
        </pc:sldMkLst>
      </pc:sldChg>
      <pc:sldChg chg="del">
        <pc:chgData name="Matthias Scholer" userId="daad25a6-aca0-4d73-8528-03a468fe8ab9" providerId="ADAL" clId="{16F4BA2C-4F2E-4696-8E44-25A7C016F193}" dt="2023-07-04T07:58:35.642" v="147" actId="47"/>
        <pc:sldMkLst>
          <pc:docMk/>
          <pc:sldMk cId="1110234724" sldId="288"/>
        </pc:sldMkLst>
      </pc:sldChg>
      <pc:sldChg chg="modSp add mod">
        <pc:chgData name="Matthias Scholer" userId="daad25a6-aca0-4d73-8528-03a468fe8ab9" providerId="ADAL" clId="{16F4BA2C-4F2E-4696-8E44-25A7C016F193}" dt="2023-07-04T07:58:53.324" v="150" actId="20577"/>
        <pc:sldMkLst>
          <pc:docMk/>
          <pc:sldMk cId="2670209583" sldId="308"/>
        </pc:sldMkLst>
        <pc:spChg chg="mod">
          <ac:chgData name="Matthias Scholer" userId="daad25a6-aca0-4d73-8528-03a468fe8ab9" providerId="ADAL" clId="{16F4BA2C-4F2E-4696-8E44-25A7C016F193}" dt="2023-07-04T07:58:53.324" v="150" actId="20577"/>
          <ac:spMkLst>
            <pc:docMk/>
            <pc:sldMk cId="2670209583" sldId="308"/>
            <ac:spMk id="2" creationId="{00000000-0000-0000-0000-000000000000}"/>
          </ac:spMkLst>
        </pc:spChg>
      </pc:sldChg>
      <pc:sldChg chg="modSp mod">
        <pc:chgData name="Matthias Scholer" userId="daad25a6-aca0-4d73-8528-03a468fe8ab9" providerId="ADAL" clId="{16F4BA2C-4F2E-4696-8E44-25A7C016F193}" dt="2023-06-28T12:48:38.275" v="46" actId="1076"/>
        <pc:sldMkLst>
          <pc:docMk/>
          <pc:sldMk cId="2034376898" sldId="341"/>
        </pc:sldMkLst>
        <pc:spChg chg="mod">
          <ac:chgData name="Matthias Scholer" userId="daad25a6-aca0-4d73-8528-03a468fe8ab9" providerId="ADAL" clId="{16F4BA2C-4F2E-4696-8E44-25A7C016F193}" dt="2023-06-28T12:48:38.275" v="46" actId="1076"/>
          <ac:spMkLst>
            <pc:docMk/>
            <pc:sldMk cId="2034376898" sldId="341"/>
            <ac:spMk id="4" creationId="{00000000-0000-0000-0000-000000000000}"/>
          </ac:spMkLst>
        </pc:spChg>
      </pc:sldChg>
      <pc:sldChg chg="del">
        <pc:chgData name="Matthias Scholer" userId="daad25a6-aca0-4d73-8528-03a468fe8ab9" providerId="ADAL" clId="{16F4BA2C-4F2E-4696-8E44-25A7C016F193}" dt="2023-07-04T07:57:34.517" v="141" actId="47"/>
        <pc:sldMkLst>
          <pc:docMk/>
          <pc:sldMk cId="154817734" sldId="352"/>
        </pc:sldMkLst>
      </pc:sldChg>
      <pc:sldChg chg="modSp add mod">
        <pc:chgData name="Matthias Scholer" userId="daad25a6-aca0-4d73-8528-03a468fe8ab9" providerId="ADAL" clId="{16F4BA2C-4F2E-4696-8E44-25A7C016F193}" dt="2023-07-04T07:57:44.624" v="145" actId="108"/>
        <pc:sldMkLst>
          <pc:docMk/>
          <pc:sldMk cId="1349345707" sldId="382"/>
        </pc:sldMkLst>
        <pc:graphicFrameChg chg="mod modGraphic">
          <ac:chgData name="Matthias Scholer" userId="daad25a6-aca0-4d73-8528-03a468fe8ab9" providerId="ADAL" clId="{16F4BA2C-4F2E-4696-8E44-25A7C016F193}" dt="2023-07-04T07:57:44.624" v="145" actId="108"/>
          <ac:graphicFrameMkLst>
            <pc:docMk/>
            <pc:sldMk cId="1349345707" sldId="382"/>
            <ac:graphicFrameMk id="2" creationId="{00000000-0000-0000-0000-000000000000}"/>
          </ac:graphicFrameMkLst>
        </pc:graphicFrameChg>
      </pc:sldChg>
      <pc:sldChg chg="modSp mod">
        <pc:chgData name="Matthias Scholer" userId="daad25a6-aca0-4d73-8528-03a468fe8ab9" providerId="ADAL" clId="{16F4BA2C-4F2E-4696-8E44-25A7C016F193}" dt="2023-06-26T10:51:59.697" v="42" actId="20577"/>
        <pc:sldMkLst>
          <pc:docMk/>
          <pc:sldMk cId="625374514" sldId="405"/>
        </pc:sldMkLst>
        <pc:spChg chg="mod">
          <ac:chgData name="Matthias Scholer" userId="daad25a6-aca0-4d73-8528-03a468fe8ab9" providerId="ADAL" clId="{16F4BA2C-4F2E-4696-8E44-25A7C016F193}" dt="2023-06-26T10:51:59.697" v="42" actId="20577"/>
          <ac:spMkLst>
            <pc:docMk/>
            <pc:sldMk cId="625374514" sldId="405"/>
            <ac:spMk id="4" creationId="{501DC283-ED45-EC2B-F441-094DFC027205}"/>
          </ac:spMkLst>
        </pc:spChg>
      </pc:sldChg>
      <pc:sldChg chg="del">
        <pc:chgData name="Matthias Scholer" userId="daad25a6-aca0-4d73-8528-03a468fe8ab9" providerId="ADAL" clId="{16F4BA2C-4F2E-4696-8E44-25A7C016F193}" dt="2023-07-04T07:59:21.979" v="154" actId="47"/>
        <pc:sldMkLst>
          <pc:docMk/>
          <pc:sldMk cId="2312116435" sldId="412"/>
        </pc:sldMkLst>
      </pc:sldChg>
      <pc:sldChg chg="modSp add mod">
        <pc:chgData name="Matthias Scholer" userId="daad25a6-aca0-4d73-8528-03a468fe8ab9" providerId="ADAL" clId="{16F4BA2C-4F2E-4696-8E44-25A7C016F193}" dt="2023-07-04T07:59:17.391" v="152" actId="113"/>
        <pc:sldMkLst>
          <pc:docMk/>
          <pc:sldMk cId="3538500990" sldId="429"/>
        </pc:sldMkLst>
        <pc:spChg chg="mod">
          <ac:chgData name="Matthias Scholer" userId="daad25a6-aca0-4d73-8528-03a468fe8ab9" providerId="ADAL" clId="{16F4BA2C-4F2E-4696-8E44-25A7C016F193}" dt="2023-07-04T07:59:17.391" v="152" actId="113"/>
          <ac:spMkLst>
            <pc:docMk/>
            <pc:sldMk cId="3538500990" sldId="429"/>
            <ac:spMk id="2" creationId="{00000000-0000-0000-0000-000000000000}"/>
          </ac:spMkLst>
        </pc:spChg>
      </pc:sldChg>
      <pc:sldChg chg="modSp add mod">
        <pc:chgData name="Matthias Scholer" userId="daad25a6-aca0-4d73-8528-03a468fe8ab9" providerId="ADAL" clId="{16F4BA2C-4F2E-4696-8E44-25A7C016F193}" dt="2023-07-04T07:59:31.131" v="156" actId="108"/>
        <pc:sldMkLst>
          <pc:docMk/>
          <pc:sldMk cId="4200854970" sldId="430"/>
        </pc:sldMkLst>
        <pc:spChg chg="mod">
          <ac:chgData name="Matthias Scholer" userId="daad25a6-aca0-4d73-8528-03a468fe8ab9" providerId="ADAL" clId="{16F4BA2C-4F2E-4696-8E44-25A7C016F193}" dt="2023-07-04T07:59:31.131" v="156" actId="108"/>
          <ac:spMkLst>
            <pc:docMk/>
            <pc:sldMk cId="4200854970" sldId="430"/>
            <ac:spMk id="2" creationId="{00000000-0000-0000-0000-000000000000}"/>
          </ac:spMkLst>
        </pc:spChg>
      </pc:sldChg>
      <pc:sldChg chg="modSp add mod">
        <pc:chgData name="Matthias Scholer" userId="daad25a6-aca0-4d73-8528-03a468fe8ab9" providerId="ADAL" clId="{16F4BA2C-4F2E-4696-8E44-25A7C016F193}" dt="2023-07-04T08:00:15.926" v="163" actId="108"/>
        <pc:sldMkLst>
          <pc:docMk/>
          <pc:sldMk cId="832023091" sldId="431"/>
        </pc:sldMkLst>
        <pc:spChg chg="mod">
          <ac:chgData name="Matthias Scholer" userId="daad25a6-aca0-4d73-8528-03a468fe8ab9" providerId="ADAL" clId="{16F4BA2C-4F2E-4696-8E44-25A7C016F193}" dt="2023-07-04T08:00:15.926" v="163" actId="108"/>
          <ac:spMkLst>
            <pc:docMk/>
            <pc:sldMk cId="832023091" sldId="431"/>
            <ac:spMk id="2" creationId="{00000000-0000-0000-0000-000000000000}"/>
          </ac:spMkLst>
        </pc:spChg>
      </pc:sldChg>
      <pc:sldChg chg="modSp add mod">
        <pc:chgData name="Matthias Scholer" userId="daad25a6-aca0-4d73-8528-03a468fe8ab9" providerId="ADAL" clId="{16F4BA2C-4F2E-4696-8E44-25A7C016F193}" dt="2023-07-04T08:00:32.996" v="166" actId="108"/>
        <pc:sldMkLst>
          <pc:docMk/>
          <pc:sldMk cId="2651662527" sldId="432"/>
        </pc:sldMkLst>
        <pc:spChg chg="mod">
          <ac:chgData name="Matthias Scholer" userId="daad25a6-aca0-4d73-8528-03a468fe8ab9" providerId="ADAL" clId="{16F4BA2C-4F2E-4696-8E44-25A7C016F193}" dt="2023-07-04T08:00:32.996" v="166" actId="108"/>
          <ac:spMkLst>
            <pc:docMk/>
            <pc:sldMk cId="2651662527" sldId="432"/>
            <ac:spMk id="2" creationId="{00000000-0000-0000-0000-000000000000}"/>
          </ac:spMkLst>
        </pc:spChg>
      </pc:sldChg>
      <pc:sldMasterChg chg="delSldLayout modSldLayout">
        <pc:chgData name="Matthias Scholer" userId="daad25a6-aca0-4d73-8528-03a468fe8ab9" providerId="ADAL" clId="{16F4BA2C-4F2E-4696-8E44-25A7C016F193}" dt="2023-07-04T07:58:35.642" v="147" actId="47"/>
        <pc:sldMasterMkLst>
          <pc:docMk/>
          <pc:sldMasterMk cId="4006175236" sldId="2147483708"/>
        </pc:sldMasterMkLst>
        <pc:sldLayoutChg chg="modSp mod">
          <pc:chgData name="Matthias Scholer" userId="daad25a6-aca0-4d73-8528-03a468fe8ab9" providerId="ADAL" clId="{16F4BA2C-4F2E-4696-8E44-25A7C016F193}" dt="2023-06-28T12:48:22.820" v="45" actId="1035"/>
          <pc:sldLayoutMkLst>
            <pc:docMk/>
            <pc:sldMasterMk cId="4006175236" sldId="2147483708"/>
            <pc:sldLayoutMk cId="3384671813" sldId="2147483722"/>
          </pc:sldLayoutMkLst>
          <pc:spChg chg="mod">
            <ac:chgData name="Matthias Scholer" userId="daad25a6-aca0-4d73-8528-03a468fe8ab9" providerId="ADAL" clId="{16F4BA2C-4F2E-4696-8E44-25A7C016F193}" dt="2023-06-28T12:48:22.820" v="45" actId="1035"/>
            <ac:spMkLst>
              <pc:docMk/>
              <pc:sldMasterMk cId="4006175236" sldId="2147483708"/>
              <pc:sldLayoutMk cId="3384671813" sldId="2147483722"/>
              <ac:spMk id="21" creationId="{00000000-0000-0000-0000-000000000000}"/>
            </ac:spMkLst>
          </pc:spChg>
        </pc:sldLayoutChg>
        <pc:sldLayoutChg chg="del">
          <pc:chgData name="Matthias Scholer" userId="daad25a6-aca0-4d73-8528-03a468fe8ab9" providerId="ADAL" clId="{16F4BA2C-4F2E-4696-8E44-25A7C016F193}" dt="2023-07-04T07:58:35.642" v="147" actId="47"/>
          <pc:sldLayoutMkLst>
            <pc:docMk/>
            <pc:sldMasterMk cId="4006175236" sldId="2147483708"/>
            <pc:sldLayoutMk cId="65374182" sldId="2147483723"/>
          </pc:sldLayoutMkLst>
        </pc:sldLayoutChg>
      </pc:sldMasterChg>
    </pc:docChg>
  </pc:docChgLst>
  <pc:docChgLst>
    <pc:chgData name="Matthias Scholer" userId="daad25a6-aca0-4d73-8528-03a468fe8ab9" providerId="ADAL" clId="{B67924B1-1915-4706-A50D-518CA1D3C1EC}"/>
    <pc:docChg chg="custSel addSld delSld modSld">
      <pc:chgData name="Matthias Scholer" userId="daad25a6-aca0-4d73-8528-03a468fe8ab9" providerId="ADAL" clId="{B67924B1-1915-4706-A50D-518CA1D3C1EC}" dt="2024-03-19T06:53:46.425" v="470" actId="478"/>
      <pc:docMkLst>
        <pc:docMk/>
      </pc:docMkLst>
      <pc:sldChg chg="delSp mod">
        <pc:chgData name="Matthias Scholer" userId="daad25a6-aca0-4d73-8528-03a468fe8ab9" providerId="ADAL" clId="{B67924B1-1915-4706-A50D-518CA1D3C1EC}" dt="2024-03-19T06:53:46.425" v="470" actId="478"/>
        <pc:sldMkLst>
          <pc:docMk/>
          <pc:sldMk cId="625374514" sldId="405"/>
        </pc:sldMkLst>
        <pc:spChg chg="del">
          <ac:chgData name="Matthias Scholer" userId="daad25a6-aca0-4d73-8528-03a468fe8ab9" providerId="ADAL" clId="{B67924B1-1915-4706-A50D-518CA1D3C1EC}" dt="2024-03-19T06:53:46.425" v="470" actId="478"/>
          <ac:spMkLst>
            <pc:docMk/>
            <pc:sldMk cId="625374514" sldId="405"/>
            <ac:spMk id="6" creationId="{883431D8-DF65-BFE2-DC76-36CDFF908318}"/>
          </ac:spMkLst>
        </pc:spChg>
      </pc:sldChg>
      <pc:sldChg chg="del">
        <pc:chgData name="Matthias Scholer" userId="daad25a6-aca0-4d73-8528-03a468fe8ab9" providerId="ADAL" clId="{B67924B1-1915-4706-A50D-518CA1D3C1EC}" dt="2024-03-19T06:53:42.419" v="469" actId="47"/>
        <pc:sldMkLst>
          <pc:docMk/>
          <pc:sldMk cId="2609909440" sldId="690"/>
        </pc:sldMkLst>
      </pc:sldChg>
      <pc:sldChg chg="del">
        <pc:chgData name="Matthias Scholer" userId="daad25a6-aca0-4d73-8528-03a468fe8ab9" providerId="ADAL" clId="{B67924B1-1915-4706-A50D-518CA1D3C1EC}" dt="2024-03-06T10:29:48.648" v="274" actId="47"/>
        <pc:sldMkLst>
          <pc:docMk/>
          <pc:sldMk cId="4294508008" sldId="710"/>
        </pc:sldMkLst>
      </pc:sldChg>
      <pc:sldChg chg="modSp new mod">
        <pc:chgData name="Matthias Scholer" userId="daad25a6-aca0-4d73-8528-03a468fe8ab9" providerId="ADAL" clId="{B67924B1-1915-4706-A50D-518CA1D3C1EC}" dt="2024-03-06T10:28:35.160" v="273" actId="20577"/>
        <pc:sldMkLst>
          <pc:docMk/>
          <pc:sldMk cId="1161398435" sldId="712"/>
        </pc:sldMkLst>
        <pc:spChg chg="mod">
          <ac:chgData name="Matthias Scholer" userId="daad25a6-aca0-4d73-8528-03a468fe8ab9" providerId="ADAL" clId="{B67924B1-1915-4706-A50D-518CA1D3C1EC}" dt="2024-03-06T10:28:35.160" v="273" actId="20577"/>
          <ac:spMkLst>
            <pc:docMk/>
            <pc:sldMk cId="1161398435" sldId="712"/>
            <ac:spMk id="2" creationId="{4807DBBC-7F6E-0451-DAD9-260431051D02}"/>
          </ac:spMkLst>
        </pc:spChg>
        <pc:spChg chg="mod">
          <ac:chgData name="Matthias Scholer" userId="daad25a6-aca0-4d73-8528-03a468fe8ab9" providerId="ADAL" clId="{B67924B1-1915-4706-A50D-518CA1D3C1EC}" dt="2024-03-06T10:24:30.577" v="39" actId="20577"/>
          <ac:spMkLst>
            <pc:docMk/>
            <pc:sldMk cId="1161398435" sldId="712"/>
            <ac:spMk id="3" creationId="{FE730BA0-FDFB-05FF-6742-D3D3539B149F}"/>
          </ac:spMkLst>
        </pc:spChg>
      </pc:sldChg>
      <pc:sldChg chg="modSp add mod">
        <pc:chgData name="Matthias Scholer" userId="daad25a6-aca0-4d73-8528-03a468fe8ab9" providerId="ADAL" clId="{B67924B1-1915-4706-A50D-518CA1D3C1EC}" dt="2024-03-06T10:30:39.576" v="468" actId="313"/>
        <pc:sldMkLst>
          <pc:docMk/>
          <pc:sldMk cId="3997724797" sldId="713"/>
        </pc:sldMkLst>
        <pc:spChg chg="mod">
          <ac:chgData name="Matthias Scholer" userId="daad25a6-aca0-4d73-8528-03a468fe8ab9" providerId="ADAL" clId="{B67924B1-1915-4706-A50D-518CA1D3C1EC}" dt="2024-03-06T10:30:39.576" v="468" actId="313"/>
          <ac:spMkLst>
            <pc:docMk/>
            <pc:sldMk cId="3997724797" sldId="713"/>
            <ac:spMk id="2" creationId="{4807DBBC-7F6E-0451-DAD9-260431051D02}"/>
          </ac:spMkLst>
        </pc:spChg>
        <pc:spChg chg="mod">
          <ac:chgData name="Matthias Scholer" userId="daad25a6-aca0-4d73-8528-03a468fe8ab9" providerId="ADAL" clId="{B67924B1-1915-4706-A50D-518CA1D3C1EC}" dt="2024-03-06T10:29:58.176" v="295" actId="20577"/>
          <ac:spMkLst>
            <pc:docMk/>
            <pc:sldMk cId="3997724797" sldId="713"/>
            <ac:spMk id="3" creationId="{FE730BA0-FDFB-05FF-6742-D3D3539B149F}"/>
          </ac:spMkLst>
        </pc:spChg>
      </pc:sldChg>
    </pc:docChg>
  </pc:docChgLst>
  <pc:docChgLst>
    <pc:chgData name="Matthias Scholer" userId="daad25a6-aca0-4d73-8528-03a468fe8ab9" providerId="ADAL" clId="{2D3BC593-596F-4680-A2A4-47AC60EE621D}"/>
    <pc:docChg chg="custSel addSld delSld modSld sldOrd">
      <pc:chgData name="Matthias Scholer" userId="daad25a6-aca0-4d73-8528-03a468fe8ab9" providerId="ADAL" clId="{2D3BC593-596F-4680-A2A4-47AC60EE621D}" dt="2023-12-06T09:55:30.034" v="247" actId="47"/>
      <pc:docMkLst>
        <pc:docMk/>
      </pc:docMkLst>
      <pc:sldChg chg="del">
        <pc:chgData name="Matthias Scholer" userId="daad25a6-aca0-4d73-8528-03a468fe8ab9" providerId="ADAL" clId="{2D3BC593-596F-4680-A2A4-47AC60EE621D}" dt="2023-11-22T08:21:18.094" v="1" actId="47"/>
        <pc:sldMkLst>
          <pc:docMk/>
          <pc:sldMk cId="152197939" sldId="292"/>
        </pc:sldMkLst>
      </pc:sldChg>
      <pc:sldChg chg="del">
        <pc:chgData name="Matthias Scholer" userId="daad25a6-aca0-4d73-8528-03a468fe8ab9" providerId="ADAL" clId="{2D3BC593-596F-4680-A2A4-47AC60EE621D}" dt="2023-11-22T08:21:18.094" v="1" actId="47"/>
        <pc:sldMkLst>
          <pc:docMk/>
          <pc:sldMk cId="1904681516" sldId="296"/>
        </pc:sldMkLst>
      </pc:sldChg>
      <pc:sldChg chg="del">
        <pc:chgData name="Matthias Scholer" userId="daad25a6-aca0-4d73-8528-03a468fe8ab9" providerId="ADAL" clId="{2D3BC593-596F-4680-A2A4-47AC60EE621D}" dt="2023-11-22T08:21:21.331" v="5" actId="47"/>
        <pc:sldMkLst>
          <pc:docMk/>
          <pc:sldMk cId="3854691055" sldId="297"/>
        </pc:sldMkLst>
      </pc:sldChg>
      <pc:sldChg chg="del">
        <pc:chgData name="Matthias Scholer" userId="daad25a6-aca0-4d73-8528-03a468fe8ab9" providerId="ADAL" clId="{2D3BC593-596F-4680-A2A4-47AC60EE621D}" dt="2023-11-22T08:21:18.094" v="1" actId="47"/>
        <pc:sldMkLst>
          <pc:docMk/>
          <pc:sldMk cId="56921121" sldId="298"/>
        </pc:sldMkLst>
      </pc:sldChg>
      <pc:sldChg chg="del">
        <pc:chgData name="Matthias Scholer" userId="daad25a6-aca0-4d73-8528-03a468fe8ab9" providerId="ADAL" clId="{2D3BC593-596F-4680-A2A4-47AC60EE621D}" dt="2023-11-22T08:21:18.094" v="1" actId="47"/>
        <pc:sldMkLst>
          <pc:docMk/>
          <pc:sldMk cId="1301656241" sldId="299"/>
        </pc:sldMkLst>
      </pc:sldChg>
      <pc:sldChg chg="del">
        <pc:chgData name="Matthias Scholer" userId="daad25a6-aca0-4d73-8528-03a468fe8ab9" providerId="ADAL" clId="{2D3BC593-596F-4680-A2A4-47AC60EE621D}" dt="2023-11-22T08:21:18.094" v="1" actId="47"/>
        <pc:sldMkLst>
          <pc:docMk/>
          <pc:sldMk cId="1508733587" sldId="300"/>
        </pc:sldMkLst>
      </pc:sldChg>
      <pc:sldChg chg="del">
        <pc:chgData name="Matthias Scholer" userId="daad25a6-aca0-4d73-8528-03a468fe8ab9" providerId="ADAL" clId="{2D3BC593-596F-4680-A2A4-47AC60EE621D}" dt="2023-11-22T08:21:18.094" v="1" actId="47"/>
        <pc:sldMkLst>
          <pc:docMk/>
          <pc:sldMk cId="1209432304" sldId="301"/>
        </pc:sldMkLst>
      </pc:sldChg>
      <pc:sldChg chg="del">
        <pc:chgData name="Matthias Scholer" userId="daad25a6-aca0-4d73-8528-03a468fe8ab9" providerId="ADAL" clId="{2D3BC593-596F-4680-A2A4-47AC60EE621D}" dt="2023-11-22T08:21:18.094" v="1" actId="47"/>
        <pc:sldMkLst>
          <pc:docMk/>
          <pc:sldMk cId="1617533612" sldId="302"/>
        </pc:sldMkLst>
      </pc:sldChg>
      <pc:sldChg chg="del">
        <pc:chgData name="Matthias Scholer" userId="daad25a6-aca0-4d73-8528-03a468fe8ab9" providerId="ADAL" clId="{2D3BC593-596F-4680-A2A4-47AC60EE621D}" dt="2023-11-22T08:21:18.094" v="1" actId="47"/>
        <pc:sldMkLst>
          <pc:docMk/>
          <pc:sldMk cId="3098136749" sldId="303"/>
        </pc:sldMkLst>
      </pc:sldChg>
      <pc:sldChg chg="del">
        <pc:chgData name="Matthias Scholer" userId="daad25a6-aca0-4d73-8528-03a468fe8ab9" providerId="ADAL" clId="{2D3BC593-596F-4680-A2A4-47AC60EE621D}" dt="2023-11-22T08:21:18.094" v="1" actId="47"/>
        <pc:sldMkLst>
          <pc:docMk/>
          <pc:sldMk cId="3530153375" sldId="304"/>
        </pc:sldMkLst>
      </pc:sldChg>
      <pc:sldChg chg="del">
        <pc:chgData name="Matthias Scholer" userId="daad25a6-aca0-4d73-8528-03a468fe8ab9" providerId="ADAL" clId="{2D3BC593-596F-4680-A2A4-47AC60EE621D}" dt="2023-11-22T08:21:18.094" v="1" actId="47"/>
        <pc:sldMkLst>
          <pc:docMk/>
          <pc:sldMk cId="1731629397" sldId="306"/>
        </pc:sldMkLst>
      </pc:sldChg>
      <pc:sldChg chg="del">
        <pc:chgData name="Matthias Scholer" userId="daad25a6-aca0-4d73-8528-03a468fe8ab9" providerId="ADAL" clId="{2D3BC593-596F-4680-A2A4-47AC60EE621D}" dt="2023-11-22T08:21:18.094" v="1" actId="47"/>
        <pc:sldMkLst>
          <pc:docMk/>
          <pc:sldMk cId="1831664384" sldId="307"/>
        </pc:sldMkLst>
      </pc:sldChg>
      <pc:sldChg chg="del">
        <pc:chgData name="Matthias Scholer" userId="daad25a6-aca0-4d73-8528-03a468fe8ab9" providerId="ADAL" clId="{2D3BC593-596F-4680-A2A4-47AC60EE621D}" dt="2023-11-22T08:21:18.094" v="1" actId="47"/>
        <pc:sldMkLst>
          <pc:docMk/>
          <pc:sldMk cId="569470924" sldId="310"/>
        </pc:sldMkLst>
      </pc:sldChg>
      <pc:sldChg chg="del">
        <pc:chgData name="Matthias Scholer" userId="daad25a6-aca0-4d73-8528-03a468fe8ab9" providerId="ADAL" clId="{2D3BC593-596F-4680-A2A4-47AC60EE621D}" dt="2023-11-22T08:21:18.094" v="1" actId="47"/>
        <pc:sldMkLst>
          <pc:docMk/>
          <pc:sldMk cId="2459301635" sldId="311"/>
        </pc:sldMkLst>
      </pc:sldChg>
      <pc:sldChg chg="del">
        <pc:chgData name="Matthias Scholer" userId="daad25a6-aca0-4d73-8528-03a468fe8ab9" providerId="ADAL" clId="{2D3BC593-596F-4680-A2A4-47AC60EE621D}" dt="2023-11-22T08:21:18.094" v="1" actId="47"/>
        <pc:sldMkLst>
          <pc:docMk/>
          <pc:sldMk cId="477197256" sldId="312"/>
        </pc:sldMkLst>
      </pc:sldChg>
      <pc:sldChg chg="del">
        <pc:chgData name="Matthias Scholer" userId="daad25a6-aca0-4d73-8528-03a468fe8ab9" providerId="ADAL" clId="{2D3BC593-596F-4680-A2A4-47AC60EE621D}" dt="2023-11-22T08:21:18.094" v="1" actId="47"/>
        <pc:sldMkLst>
          <pc:docMk/>
          <pc:sldMk cId="2335738124" sldId="315"/>
        </pc:sldMkLst>
      </pc:sldChg>
      <pc:sldChg chg="del">
        <pc:chgData name="Matthias Scholer" userId="daad25a6-aca0-4d73-8528-03a468fe8ab9" providerId="ADAL" clId="{2D3BC593-596F-4680-A2A4-47AC60EE621D}" dt="2023-11-22T08:21:18.094" v="1" actId="47"/>
        <pc:sldMkLst>
          <pc:docMk/>
          <pc:sldMk cId="3099146076" sldId="318"/>
        </pc:sldMkLst>
      </pc:sldChg>
      <pc:sldChg chg="del">
        <pc:chgData name="Matthias Scholer" userId="daad25a6-aca0-4d73-8528-03a468fe8ab9" providerId="ADAL" clId="{2D3BC593-596F-4680-A2A4-47AC60EE621D}" dt="2023-11-22T08:21:18.094" v="1" actId="47"/>
        <pc:sldMkLst>
          <pc:docMk/>
          <pc:sldMk cId="364847650" sldId="320"/>
        </pc:sldMkLst>
      </pc:sldChg>
      <pc:sldChg chg="del">
        <pc:chgData name="Matthias Scholer" userId="daad25a6-aca0-4d73-8528-03a468fe8ab9" providerId="ADAL" clId="{2D3BC593-596F-4680-A2A4-47AC60EE621D}" dt="2023-11-22T08:21:18.094" v="1" actId="47"/>
        <pc:sldMkLst>
          <pc:docMk/>
          <pc:sldMk cId="1552950511" sldId="321"/>
        </pc:sldMkLst>
      </pc:sldChg>
      <pc:sldChg chg="del">
        <pc:chgData name="Matthias Scholer" userId="daad25a6-aca0-4d73-8528-03a468fe8ab9" providerId="ADAL" clId="{2D3BC593-596F-4680-A2A4-47AC60EE621D}" dt="2023-11-22T08:21:18.094" v="1" actId="47"/>
        <pc:sldMkLst>
          <pc:docMk/>
          <pc:sldMk cId="3795163419" sldId="322"/>
        </pc:sldMkLst>
      </pc:sldChg>
      <pc:sldChg chg="del">
        <pc:chgData name="Matthias Scholer" userId="daad25a6-aca0-4d73-8528-03a468fe8ab9" providerId="ADAL" clId="{2D3BC593-596F-4680-A2A4-47AC60EE621D}" dt="2023-11-22T08:21:18.094" v="1" actId="47"/>
        <pc:sldMkLst>
          <pc:docMk/>
          <pc:sldMk cId="1108153589" sldId="323"/>
        </pc:sldMkLst>
      </pc:sldChg>
      <pc:sldChg chg="del">
        <pc:chgData name="Matthias Scholer" userId="daad25a6-aca0-4d73-8528-03a468fe8ab9" providerId="ADAL" clId="{2D3BC593-596F-4680-A2A4-47AC60EE621D}" dt="2023-11-22T08:21:18.094" v="1" actId="47"/>
        <pc:sldMkLst>
          <pc:docMk/>
          <pc:sldMk cId="3424468591" sldId="324"/>
        </pc:sldMkLst>
      </pc:sldChg>
      <pc:sldChg chg="del">
        <pc:chgData name="Matthias Scholer" userId="daad25a6-aca0-4d73-8528-03a468fe8ab9" providerId="ADAL" clId="{2D3BC593-596F-4680-A2A4-47AC60EE621D}" dt="2023-11-22T08:21:18.094" v="1" actId="47"/>
        <pc:sldMkLst>
          <pc:docMk/>
          <pc:sldMk cId="3350547285" sldId="325"/>
        </pc:sldMkLst>
      </pc:sldChg>
      <pc:sldChg chg="del">
        <pc:chgData name="Matthias Scholer" userId="daad25a6-aca0-4d73-8528-03a468fe8ab9" providerId="ADAL" clId="{2D3BC593-596F-4680-A2A4-47AC60EE621D}" dt="2023-11-22T08:21:18.094" v="1" actId="47"/>
        <pc:sldMkLst>
          <pc:docMk/>
          <pc:sldMk cId="2866160750" sldId="331"/>
        </pc:sldMkLst>
      </pc:sldChg>
      <pc:sldChg chg="del">
        <pc:chgData name="Matthias Scholer" userId="daad25a6-aca0-4d73-8528-03a468fe8ab9" providerId="ADAL" clId="{2D3BC593-596F-4680-A2A4-47AC60EE621D}" dt="2023-11-22T08:21:18.094" v="1" actId="47"/>
        <pc:sldMkLst>
          <pc:docMk/>
          <pc:sldMk cId="2034376898" sldId="341"/>
        </pc:sldMkLst>
      </pc:sldChg>
      <pc:sldChg chg="del">
        <pc:chgData name="Matthias Scholer" userId="daad25a6-aca0-4d73-8528-03a468fe8ab9" providerId="ADAL" clId="{2D3BC593-596F-4680-A2A4-47AC60EE621D}" dt="2023-11-22T08:21:18.094" v="1" actId="47"/>
        <pc:sldMkLst>
          <pc:docMk/>
          <pc:sldMk cId="2248754006" sldId="342"/>
        </pc:sldMkLst>
      </pc:sldChg>
      <pc:sldChg chg="del">
        <pc:chgData name="Matthias Scholer" userId="daad25a6-aca0-4d73-8528-03a468fe8ab9" providerId="ADAL" clId="{2D3BC593-596F-4680-A2A4-47AC60EE621D}" dt="2023-11-22T08:21:18.094" v="1" actId="47"/>
        <pc:sldMkLst>
          <pc:docMk/>
          <pc:sldMk cId="3966254486" sldId="345"/>
        </pc:sldMkLst>
      </pc:sldChg>
      <pc:sldChg chg="del">
        <pc:chgData name="Matthias Scholer" userId="daad25a6-aca0-4d73-8528-03a468fe8ab9" providerId="ADAL" clId="{2D3BC593-596F-4680-A2A4-47AC60EE621D}" dt="2023-11-22T08:21:18.094" v="1" actId="47"/>
        <pc:sldMkLst>
          <pc:docMk/>
          <pc:sldMk cId="2225272155" sldId="346"/>
        </pc:sldMkLst>
      </pc:sldChg>
      <pc:sldChg chg="del">
        <pc:chgData name="Matthias Scholer" userId="daad25a6-aca0-4d73-8528-03a468fe8ab9" providerId="ADAL" clId="{2D3BC593-596F-4680-A2A4-47AC60EE621D}" dt="2023-11-22T08:21:18.094" v="1" actId="47"/>
        <pc:sldMkLst>
          <pc:docMk/>
          <pc:sldMk cId="3305920628" sldId="347"/>
        </pc:sldMkLst>
      </pc:sldChg>
      <pc:sldChg chg="del">
        <pc:chgData name="Matthias Scholer" userId="daad25a6-aca0-4d73-8528-03a468fe8ab9" providerId="ADAL" clId="{2D3BC593-596F-4680-A2A4-47AC60EE621D}" dt="2023-11-22T08:21:18.094" v="1" actId="47"/>
        <pc:sldMkLst>
          <pc:docMk/>
          <pc:sldMk cId="3594570469" sldId="348"/>
        </pc:sldMkLst>
      </pc:sldChg>
      <pc:sldChg chg="del">
        <pc:chgData name="Matthias Scholer" userId="daad25a6-aca0-4d73-8528-03a468fe8ab9" providerId="ADAL" clId="{2D3BC593-596F-4680-A2A4-47AC60EE621D}" dt="2023-11-22T08:21:18.094" v="1" actId="47"/>
        <pc:sldMkLst>
          <pc:docMk/>
          <pc:sldMk cId="2098861641" sldId="350"/>
        </pc:sldMkLst>
      </pc:sldChg>
      <pc:sldChg chg="modSp mod">
        <pc:chgData name="Matthias Scholer" userId="daad25a6-aca0-4d73-8528-03a468fe8ab9" providerId="ADAL" clId="{2D3BC593-596F-4680-A2A4-47AC60EE621D}" dt="2023-12-06T09:54:57.180" v="244" actId="108"/>
        <pc:sldMkLst>
          <pc:docMk/>
          <pc:sldMk cId="1349345707" sldId="382"/>
        </pc:sldMkLst>
        <pc:graphicFrameChg chg="mod modGraphic">
          <ac:chgData name="Matthias Scholer" userId="daad25a6-aca0-4d73-8528-03a468fe8ab9" providerId="ADAL" clId="{2D3BC593-596F-4680-A2A4-47AC60EE621D}" dt="2023-12-06T09:54:57.180" v="244" actId="108"/>
          <ac:graphicFrameMkLst>
            <pc:docMk/>
            <pc:sldMk cId="1349345707" sldId="382"/>
            <ac:graphicFrameMk id="2" creationId="{00000000-0000-0000-0000-000000000000}"/>
          </ac:graphicFrameMkLst>
        </pc:graphicFrameChg>
      </pc:sldChg>
      <pc:sldChg chg="del">
        <pc:chgData name="Matthias Scholer" userId="daad25a6-aca0-4d73-8528-03a468fe8ab9" providerId="ADAL" clId="{2D3BC593-596F-4680-A2A4-47AC60EE621D}" dt="2023-11-22T08:21:18.094" v="1" actId="47"/>
        <pc:sldMkLst>
          <pc:docMk/>
          <pc:sldMk cId="2459759268" sldId="394"/>
        </pc:sldMkLst>
      </pc:sldChg>
      <pc:sldChg chg="modSp mod">
        <pc:chgData name="Matthias Scholer" userId="daad25a6-aca0-4d73-8528-03a468fe8ab9" providerId="ADAL" clId="{2D3BC593-596F-4680-A2A4-47AC60EE621D}" dt="2023-12-06T09:55:06.414" v="245" actId="20577"/>
        <pc:sldMkLst>
          <pc:docMk/>
          <pc:sldMk cId="625374514" sldId="405"/>
        </pc:sldMkLst>
        <pc:spChg chg="mod">
          <ac:chgData name="Matthias Scholer" userId="daad25a6-aca0-4d73-8528-03a468fe8ab9" providerId="ADAL" clId="{2D3BC593-596F-4680-A2A4-47AC60EE621D}" dt="2023-11-22T08:20:59.542" v="0" actId="20577"/>
          <ac:spMkLst>
            <pc:docMk/>
            <pc:sldMk cId="625374514" sldId="405"/>
            <ac:spMk id="2" creationId="{AEBDEA89-7970-39B5-FB7D-E8A78DC83D4C}"/>
          </ac:spMkLst>
        </pc:spChg>
        <pc:spChg chg="mod">
          <ac:chgData name="Matthias Scholer" userId="daad25a6-aca0-4d73-8528-03a468fe8ab9" providerId="ADAL" clId="{2D3BC593-596F-4680-A2A4-47AC60EE621D}" dt="2023-12-06T09:55:06.414" v="245" actId="20577"/>
          <ac:spMkLst>
            <pc:docMk/>
            <pc:sldMk cId="625374514" sldId="405"/>
            <ac:spMk id="3" creationId="{25683B8D-F1F5-BE3F-CBF8-5E82B666473F}"/>
          </ac:spMkLst>
        </pc:spChg>
        <pc:spChg chg="mod">
          <ac:chgData name="Matthias Scholer" userId="daad25a6-aca0-4d73-8528-03a468fe8ab9" providerId="ADAL" clId="{2D3BC593-596F-4680-A2A4-47AC60EE621D}" dt="2023-12-06T09:48:56.079" v="29" actId="20577"/>
          <ac:spMkLst>
            <pc:docMk/>
            <pc:sldMk cId="625374514" sldId="405"/>
            <ac:spMk id="4" creationId="{501DC283-ED45-EC2B-F441-094DFC027205}"/>
          </ac:spMkLst>
        </pc:spChg>
      </pc:sldChg>
      <pc:sldChg chg="modSp new mod ord">
        <pc:chgData name="Matthias Scholer" userId="daad25a6-aca0-4d73-8528-03a468fe8ab9" providerId="ADAL" clId="{2D3BC593-596F-4680-A2A4-47AC60EE621D}" dt="2023-12-06T09:54:51.042" v="241" actId="27636"/>
        <pc:sldMkLst>
          <pc:docMk/>
          <pc:sldMk cId="1634711033" sldId="406"/>
        </pc:sldMkLst>
        <pc:spChg chg="mod">
          <ac:chgData name="Matthias Scholer" userId="daad25a6-aca0-4d73-8528-03a468fe8ab9" providerId="ADAL" clId="{2D3BC593-596F-4680-A2A4-47AC60EE621D}" dt="2023-12-06T09:54:51.042" v="241" actId="27636"/>
          <ac:spMkLst>
            <pc:docMk/>
            <pc:sldMk cId="1634711033" sldId="406"/>
            <ac:spMk id="3" creationId="{537A33CB-7E40-B317-B535-4C337F4681D9}"/>
          </ac:spMkLst>
        </pc:spChg>
      </pc:sldChg>
      <pc:sldChg chg="del">
        <pc:chgData name="Matthias Scholer" userId="daad25a6-aca0-4d73-8528-03a468fe8ab9" providerId="ADAL" clId="{2D3BC593-596F-4680-A2A4-47AC60EE621D}" dt="2023-11-22T08:21:18.094" v="1" actId="47"/>
        <pc:sldMkLst>
          <pc:docMk/>
          <pc:sldMk cId="426563419" sldId="407"/>
        </pc:sldMkLst>
      </pc:sldChg>
      <pc:sldChg chg="new del">
        <pc:chgData name="Matthias Scholer" userId="daad25a6-aca0-4d73-8528-03a468fe8ab9" providerId="ADAL" clId="{2D3BC593-596F-4680-A2A4-47AC60EE621D}" dt="2023-12-06T09:55:30.034" v="247" actId="47"/>
        <pc:sldMkLst>
          <pc:docMk/>
          <pc:sldMk cId="3882485662" sldId="407"/>
        </pc:sldMkLst>
      </pc:sldChg>
      <pc:sldChg chg="del">
        <pc:chgData name="Matthias Scholer" userId="daad25a6-aca0-4d73-8528-03a468fe8ab9" providerId="ADAL" clId="{2D3BC593-596F-4680-A2A4-47AC60EE621D}" dt="2023-11-22T08:21:18.094" v="1" actId="47"/>
        <pc:sldMkLst>
          <pc:docMk/>
          <pc:sldMk cId="314508303" sldId="424"/>
        </pc:sldMkLst>
      </pc:sldChg>
      <pc:sldChg chg="del">
        <pc:chgData name="Matthias Scholer" userId="daad25a6-aca0-4d73-8528-03a468fe8ab9" providerId="ADAL" clId="{2D3BC593-596F-4680-A2A4-47AC60EE621D}" dt="2023-11-22T08:21:18.094" v="1" actId="47"/>
        <pc:sldMkLst>
          <pc:docMk/>
          <pc:sldMk cId="1172467438" sldId="425"/>
        </pc:sldMkLst>
      </pc:sldChg>
      <pc:sldChg chg="del">
        <pc:chgData name="Matthias Scholer" userId="daad25a6-aca0-4d73-8528-03a468fe8ab9" providerId="ADAL" clId="{2D3BC593-596F-4680-A2A4-47AC60EE621D}" dt="2023-11-22T08:21:18.094" v="1" actId="47"/>
        <pc:sldMkLst>
          <pc:docMk/>
          <pc:sldMk cId="1783710721" sldId="427"/>
        </pc:sldMkLst>
      </pc:sldChg>
      <pc:sldChg chg="del">
        <pc:chgData name="Matthias Scholer" userId="daad25a6-aca0-4d73-8528-03a468fe8ab9" providerId="ADAL" clId="{2D3BC593-596F-4680-A2A4-47AC60EE621D}" dt="2023-11-22T08:21:18.094" v="1" actId="47"/>
        <pc:sldMkLst>
          <pc:docMk/>
          <pc:sldMk cId="3538500990" sldId="429"/>
        </pc:sldMkLst>
      </pc:sldChg>
      <pc:sldChg chg="del">
        <pc:chgData name="Matthias Scholer" userId="daad25a6-aca0-4d73-8528-03a468fe8ab9" providerId="ADAL" clId="{2D3BC593-596F-4680-A2A4-47AC60EE621D}" dt="2023-11-22T08:21:18.094" v="1" actId="47"/>
        <pc:sldMkLst>
          <pc:docMk/>
          <pc:sldMk cId="4200854970" sldId="430"/>
        </pc:sldMkLst>
      </pc:sldChg>
      <pc:sldChg chg="del">
        <pc:chgData name="Matthias Scholer" userId="daad25a6-aca0-4d73-8528-03a468fe8ab9" providerId="ADAL" clId="{2D3BC593-596F-4680-A2A4-47AC60EE621D}" dt="2023-11-22T08:21:18.094" v="1" actId="47"/>
        <pc:sldMkLst>
          <pc:docMk/>
          <pc:sldMk cId="144589801" sldId="433"/>
        </pc:sldMkLst>
      </pc:sldChg>
      <pc:sldChg chg="del">
        <pc:chgData name="Matthias Scholer" userId="daad25a6-aca0-4d73-8528-03a468fe8ab9" providerId="ADAL" clId="{2D3BC593-596F-4680-A2A4-47AC60EE621D}" dt="2023-11-22T08:21:18.094" v="1" actId="47"/>
        <pc:sldMkLst>
          <pc:docMk/>
          <pc:sldMk cId="3680895159" sldId="435"/>
        </pc:sldMkLst>
      </pc:sldChg>
      <pc:sldChg chg="del">
        <pc:chgData name="Matthias Scholer" userId="daad25a6-aca0-4d73-8528-03a468fe8ab9" providerId="ADAL" clId="{2D3BC593-596F-4680-A2A4-47AC60EE621D}" dt="2023-11-22T08:21:18.094" v="1" actId="47"/>
        <pc:sldMkLst>
          <pc:docMk/>
          <pc:sldMk cId="2017123862" sldId="436"/>
        </pc:sldMkLst>
      </pc:sldChg>
      <pc:sldMasterChg chg="delSldLayout">
        <pc:chgData name="Matthias Scholer" userId="daad25a6-aca0-4d73-8528-03a468fe8ab9" providerId="ADAL" clId="{2D3BC593-596F-4680-A2A4-47AC60EE621D}" dt="2023-11-22T08:21:18.094" v="1" actId="47"/>
        <pc:sldMasterMkLst>
          <pc:docMk/>
          <pc:sldMasterMk cId="4006175236" sldId="2147483708"/>
        </pc:sldMasterMkLst>
        <pc:sldLayoutChg chg="del">
          <pc:chgData name="Matthias Scholer" userId="daad25a6-aca0-4d73-8528-03a468fe8ab9" providerId="ADAL" clId="{2D3BC593-596F-4680-A2A4-47AC60EE621D}" dt="2023-11-22T08:21:18.094" v="1" actId="47"/>
          <pc:sldLayoutMkLst>
            <pc:docMk/>
            <pc:sldMasterMk cId="4006175236" sldId="2147483708"/>
            <pc:sldLayoutMk cId="3900389850" sldId="2147483721"/>
          </pc:sldLayoutMkLst>
        </pc:sldLayoutChg>
      </pc:sldMasterChg>
    </pc:docChg>
  </pc:docChgLst>
  <pc:docChgLst>
    <pc:chgData name="Matthias Scholer" userId="daad25a6-aca0-4d73-8528-03a468fe8ab9" providerId="ADAL" clId="{7D6CC86C-24F2-429D-A8D3-8BE9DF00DC96}"/>
    <pc:docChg chg="undo custSel addSld delSld modSld">
      <pc:chgData name="Matthias Scholer" userId="daad25a6-aca0-4d73-8528-03a468fe8ab9" providerId="ADAL" clId="{7D6CC86C-24F2-429D-A8D3-8BE9DF00DC96}" dt="2024-01-25T09:38:24.644" v="1374" actId="1038"/>
      <pc:docMkLst>
        <pc:docMk/>
      </pc:docMkLst>
      <pc:sldChg chg="modSp del mod">
        <pc:chgData name="Matthias Scholer" userId="daad25a6-aca0-4d73-8528-03a468fe8ab9" providerId="ADAL" clId="{7D6CC86C-24F2-429D-A8D3-8BE9DF00DC96}" dt="2024-01-23T10:05:24.112" v="72" actId="47"/>
        <pc:sldMkLst>
          <pc:docMk/>
          <pc:sldMk cId="3144984276" sldId="300"/>
        </pc:sldMkLst>
        <pc:spChg chg="mod">
          <ac:chgData name="Matthias Scholer" userId="daad25a6-aca0-4d73-8528-03a468fe8ab9" providerId="ADAL" clId="{7D6CC86C-24F2-429D-A8D3-8BE9DF00DC96}" dt="2024-01-23T10:03:59.097" v="49" actId="948"/>
          <ac:spMkLst>
            <pc:docMk/>
            <pc:sldMk cId="3144984276" sldId="300"/>
            <ac:spMk id="39938" creationId="{00000000-0000-0000-0000-000000000000}"/>
          </ac:spMkLst>
        </pc:spChg>
      </pc:sldChg>
      <pc:sldChg chg="modSp mod">
        <pc:chgData name="Matthias Scholer" userId="daad25a6-aca0-4d73-8528-03a468fe8ab9" providerId="ADAL" clId="{7D6CC86C-24F2-429D-A8D3-8BE9DF00DC96}" dt="2024-01-23T10:22:19.150" v="401" actId="948"/>
        <pc:sldMkLst>
          <pc:docMk/>
          <pc:sldMk cId="3993453542" sldId="301"/>
        </pc:sldMkLst>
        <pc:spChg chg="mod">
          <ac:chgData name="Matthias Scholer" userId="daad25a6-aca0-4d73-8528-03a468fe8ab9" providerId="ADAL" clId="{7D6CC86C-24F2-429D-A8D3-8BE9DF00DC96}" dt="2024-01-23T10:22:19.150" v="401" actId="948"/>
          <ac:spMkLst>
            <pc:docMk/>
            <pc:sldMk cId="3993453542" sldId="301"/>
            <ac:spMk id="40962" creationId="{00000000-0000-0000-0000-000000000000}"/>
          </ac:spMkLst>
        </pc:spChg>
      </pc:sldChg>
      <pc:sldChg chg="modSp">
        <pc:chgData name="Matthias Scholer" userId="daad25a6-aca0-4d73-8528-03a468fe8ab9" providerId="ADAL" clId="{7D6CC86C-24F2-429D-A8D3-8BE9DF00DC96}" dt="2024-01-23T13:45:57.539" v="571" actId="14100"/>
        <pc:sldMkLst>
          <pc:docMk/>
          <pc:sldMk cId="2540657623" sldId="302"/>
        </pc:sldMkLst>
        <pc:spChg chg="mod">
          <ac:chgData name="Matthias Scholer" userId="daad25a6-aca0-4d73-8528-03a468fe8ab9" providerId="ADAL" clId="{7D6CC86C-24F2-429D-A8D3-8BE9DF00DC96}" dt="2024-01-23T13:45:29.052" v="569" actId="14100"/>
          <ac:spMkLst>
            <pc:docMk/>
            <pc:sldMk cId="2540657623" sldId="302"/>
            <ac:spMk id="41"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2"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3"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4"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5"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6"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7"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8" creationId="{00000000-0000-0000-0000-000000000000}"/>
          </ac:spMkLst>
        </pc:spChg>
        <pc:spChg chg="mod">
          <ac:chgData name="Matthias Scholer" userId="daad25a6-aca0-4d73-8528-03a468fe8ab9" providerId="ADAL" clId="{7D6CC86C-24F2-429D-A8D3-8BE9DF00DC96}" dt="2024-01-23T13:45:29.052" v="569" actId="14100"/>
          <ac:spMkLst>
            <pc:docMk/>
            <pc:sldMk cId="2540657623" sldId="302"/>
            <ac:spMk id="49" creationId="{00000000-0000-0000-0000-000000000000}"/>
          </ac:spMkLst>
        </pc:spChg>
        <pc:grpChg chg="mod">
          <ac:chgData name="Matthias Scholer" userId="daad25a6-aca0-4d73-8528-03a468fe8ab9" providerId="ADAL" clId="{7D6CC86C-24F2-429D-A8D3-8BE9DF00DC96}" dt="2024-01-23T13:45:29.052" v="569" actId="14100"/>
          <ac:grpSpMkLst>
            <pc:docMk/>
            <pc:sldMk cId="2540657623" sldId="302"/>
            <ac:grpSpMk id="40" creationId="{00000000-0000-0000-0000-000000000000}"/>
          </ac:grpSpMkLst>
        </pc:grpChg>
        <pc:cxnChg chg="mod">
          <ac:chgData name="Matthias Scholer" userId="daad25a6-aca0-4d73-8528-03a468fe8ab9" providerId="ADAL" clId="{7D6CC86C-24F2-429D-A8D3-8BE9DF00DC96}" dt="2024-01-23T13:45:29.052" v="569" actId="14100"/>
          <ac:cxnSpMkLst>
            <pc:docMk/>
            <pc:sldMk cId="2540657623" sldId="302"/>
            <ac:cxnSpMk id="50" creationId="{00000000-0000-0000-0000-000000000000}"/>
          </ac:cxnSpMkLst>
        </pc:cxnChg>
        <pc:cxnChg chg="mod">
          <ac:chgData name="Matthias Scholer" userId="daad25a6-aca0-4d73-8528-03a468fe8ab9" providerId="ADAL" clId="{7D6CC86C-24F2-429D-A8D3-8BE9DF00DC96}" dt="2024-01-23T13:45:29.052" v="569" actId="14100"/>
          <ac:cxnSpMkLst>
            <pc:docMk/>
            <pc:sldMk cId="2540657623" sldId="302"/>
            <ac:cxnSpMk id="51" creationId="{00000000-0000-0000-0000-000000000000}"/>
          </ac:cxnSpMkLst>
        </pc:cxnChg>
        <pc:cxnChg chg="mod">
          <ac:chgData name="Matthias Scholer" userId="daad25a6-aca0-4d73-8528-03a468fe8ab9" providerId="ADAL" clId="{7D6CC86C-24F2-429D-A8D3-8BE9DF00DC96}" dt="2024-01-23T13:45:57.539" v="571" actId="14100"/>
          <ac:cxnSpMkLst>
            <pc:docMk/>
            <pc:sldMk cId="2540657623" sldId="302"/>
            <ac:cxnSpMk id="52" creationId="{00000000-0000-0000-0000-000000000000}"/>
          </ac:cxnSpMkLst>
        </pc:cxnChg>
        <pc:cxnChg chg="mod">
          <ac:chgData name="Matthias Scholer" userId="daad25a6-aca0-4d73-8528-03a468fe8ab9" providerId="ADAL" clId="{7D6CC86C-24F2-429D-A8D3-8BE9DF00DC96}" dt="2024-01-23T13:45:48.886" v="570" actId="14100"/>
          <ac:cxnSpMkLst>
            <pc:docMk/>
            <pc:sldMk cId="2540657623" sldId="302"/>
            <ac:cxnSpMk id="53" creationId="{00000000-0000-0000-0000-000000000000}"/>
          </ac:cxnSpMkLst>
        </pc:cxnChg>
        <pc:cxnChg chg="mod">
          <ac:chgData name="Matthias Scholer" userId="daad25a6-aca0-4d73-8528-03a468fe8ab9" providerId="ADAL" clId="{7D6CC86C-24F2-429D-A8D3-8BE9DF00DC96}" dt="2024-01-23T13:45:29.052" v="569" actId="14100"/>
          <ac:cxnSpMkLst>
            <pc:docMk/>
            <pc:sldMk cId="2540657623" sldId="302"/>
            <ac:cxnSpMk id="54" creationId="{00000000-0000-0000-0000-000000000000}"/>
          </ac:cxnSpMkLst>
        </pc:cxnChg>
        <pc:cxnChg chg="mod">
          <ac:chgData name="Matthias Scholer" userId="daad25a6-aca0-4d73-8528-03a468fe8ab9" providerId="ADAL" clId="{7D6CC86C-24F2-429D-A8D3-8BE9DF00DC96}" dt="2024-01-23T13:45:29.052" v="569" actId="14100"/>
          <ac:cxnSpMkLst>
            <pc:docMk/>
            <pc:sldMk cId="2540657623" sldId="302"/>
            <ac:cxnSpMk id="55" creationId="{00000000-0000-0000-0000-000000000000}"/>
          </ac:cxnSpMkLst>
        </pc:cxnChg>
        <pc:cxnChg chg="mod">
          <ac:chgData name="Matthias Scholer" userId="daad25a6-aca0-4d73-8528-03a468fe8ab9" providerId="ADAL" clId="{7D6CC86C-24F2-429D-A8D3-8BE9DF00DC96}" dt="2024-01-23T13:45:29.052" v="569" actId="14100"/>
          <ac:cxnSpMkLst>
            <pc:docMk/>
            <pc:sldMk cId="2540657623" sldId="302"/>
            <ac:cxnSpMk id="56" creationId="{00000000-0000-0000-0000-000000000000}"/>
          </ac:cxnSpMkLst>
        </pc:cxnChg>
        <pc:cxnChg chg="mod">
          <ac:chgData name="Matthias Scholer" userId="daad25a6-aca0-4d73-8528-03a468fe8ab9" providerId="ADAL" clId="{7D6CC86C-24F2-429D-A8D3-8BE9DF00DC96}" dt="2024-01-23T13:45:29.052" v="569" actId="14100"/>
          <ac:cxnSpMkLst>
            <pc:docMk/>
            <pc:sldMk cId="2540657623" sldId="302"/>
            <ac:cxnSpMk id="57" creationId="{00000000-0000-0000-0000-000000000000}"/>
          </ac:cxnSpMkLst>
        </pc:cxnChg>
      </pc:sldChg>
      <pc:sldChg chg="modSp mod">
        <pc:chgData name="Matthias Scholer" userId="daad25a6-aca0-4d73-8528-03a468fe8ab9" providerId="ADAL" clId="{7D6CC86C-24F2-429D-A8D3-8BE9DF00DC96}" dt="2024-01-23T13:46:16.192" v="573" actId="1076"/>
        <pc:sldMkLst>
          <pc:docMk/>
          <pc:sldMk cId="3871226154" sldId="304"/>
        </pc:sldMkLst>
        <pc:spChg chg="mod">
          <ac:chgData name="Matthias Scholer" userId="daad25a6-aca0-4d73-8528-03a468fe8ab9" providerId="ADAL" clId="{7D6CC86C-24F2-429D-A8D3-8BE9DF00DC96}" dt="2024-01-23T13:46:16.192" v="573" actId="1076"/>
          <ac:spMkLst>
            <pc:docMk/>
            <pc:sldMk cId="3871226154" sldId="304"/>
            <ac:spMk id="10" creationId="{C478EEB3-B929-41FD-D7FA-60403E3449D8}"/>
          </ac:spMkLst>
        </pc:spChg>
      </pc:sldChg>
      <pc:sldChg chg="modSp mod">
        <pc:chgData name="Matthias Scholer" userId="daad25a6-aca0-4d73-8528-03a468fe8ab9" providerId="ADAL" clId="{7D6CC86C-24F2-429D-A8D3-8BE9DF00DC96}" dt="2024-01-23T13:47:14.295" v="587" actId="1076"/>
        <pc:sldMkLst>
          <pc:docMk/>
          <pc:sldMk cId="2887432786" sldId="305"/>
        </pc:sldMkLst>
        <pc:spChg chg="mod">
          <ac:chgData name="Matthias Scholer" userId="daad25a6-aca0-4d73-8528-03a468fe8ab9" providerId="ADAL" clId="{7D6CC86C-24F2-429D-A8D3-8BE9DF00DC96}" dt="2024-01-23T13:47:14.295" v="587" actId="1076"/>
          <ac:spMkLst>
            <pc:docMk/>
            <pc:sldMk cId="2887432786" sldId="305"/>
            <ac:spMk id="22"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27"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28"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29"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0"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2"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3"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4"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5"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6" creationId="{00000000-0000-0000-0000-000000000000}"/>
          </ac:spMkLst>
        </pc:spChg>
        <pc:spChg chg="mod">
          <ac:chgData name="Matthias Scholer" userId="daad25a6-aca0-4d73-8528-03a468fe8ab9" providerId="ADAL" clId="{7D6CC86C-24F2-429D-A8D3-8BE9DF00DC96}" dt="2024-01-23T13:47:00.157" v="583" actId="1076"/>
          <ac:spMkLst>
            <pc:docMk/>
            <pc:sldMk cId="2887432786" sldId="305"/>
            <ac:spMk id="37" creationId="{00000000-0000-0000-0000-000000000000}"/>
          </ac:spMkLst>
        </pc:spChg>
        <pc:grpChg chg="mod">
          <ac:chgData name="Matthias Scholer" userId="daad25a6-aca0-4d73-8528-03a468fe8ab9" providerId="ADAL" clId="{7D6CC86C-24F2-429D-A8D3-8BE9DF00DC96}" dt="2024-01-23T13:47:00.157" v="583" actId="1076"/>
          <ac:grpSpMkLst>
            <pc:docMk/>
            <pc:sldMk cId="2887432786" sldId="305"/>
            <ac:grpSpMk id="25" creationId="{00000000-0000-0000-0000-000000000000}"/>
          </ac:grpSpMkLst>
        </pc:grpChg>
        <pc:grpChg chg="mod">
          <ac:chgData name="Matthias Scholer" userId="daad25a6-aca0-4d73-8528-03a468fe8ab9" providerId="ADAL" clId="{7D6CC86C-24F2-429D-A8D3-8BE9DF00DC96}" dt="2024-01-23T13:47:00.157" v="583" actId="1076"/>
          <ac:grpSpMkLst>
            <pc:docMk/>
            <pc:sldMk cId="2887432786" sldId="305"/>
            <ac:grpSpMk id="26" creationId="{00000000-0000-0000-0000-000000000000}"/>
          </ac:grpSpMkLst>
        </pc:grpChg>
        <pc:picChg chg="mod">
          <ac:chgData name="Matthias Scholer" userId="daad25a6-aca0-4d73-8528-03a468fe8ab9" providerId="ADAL" clId="{7D6CC86C-24F2-429D-A8D3-8BE9DF00DC96}" dt="2024-01-23T13:46:54.463" v="581" actId="1076"/>
          <ac:picMkLst>
            <pc:docMk/>
            <pc:sldMk cId="2887432786" sldId="305"/>
            <ac:picMk id="4" creationId="{26530795-506D-447D-9CB8-428B5C022807}"/>
          </ac:picMkLst>
        </pc:picChg>
        <pc:picChg chg="mod">
          <ac:chgData name="Matthias Scholer" userId="daad25a6-aca0-4d73-8528-03a468fe8ab9" providerId="ADAL" clId="{7D6CC86C-24F2-429D-A8D3-8BE9DF00DC96}" dt="2024-01-23T13:47:04.123" v="585" actId="1076"/>
          <ac:picMkLst>
            <pc:docMk/>
            <pc:sldMk cId="2887432786" sldId="305"/>
            <ac:picMk id="5" creationId="{A99FB01C-6162-9B03-2AC5-966ECBDFC4C0}"/>
          </ac:picMkLst>
        </pc:picChg>
        <pc:picChg chg="mod">
          <ac:chgData name="Matthias Scholer" userId="daad25a6-aca0-4d73-8528-03a468fe8ab9" providerId="ADAL" clId="{7D6CC86C-24F2-429D-A8D3-8BE9DF00DC96}" dt="2024-01-23T13:47:08.235" v="586" actId="14100"/>
          <ac:picMkLst>
            <pc:docMk/>
            <pc:sldMk cId="2887432786" sldId="305"/>
            <ac:picMk id="24" creationId="{00000000-0000-0000-0000-000000000000}"/>
          </ac:picMkLst>
        </pc:picChg>
        <pc:picChg chg="mod">
          <ac:chgData name="Matthias Scholer" userId="daad25a6-aca0-4d73-8528-03a468fe8ab9" providerId="ADAL" clId="{7D6CC86C-24F2-429D-A8D3-8BE9DF00DC96}" dt="2024-01-23T13:47:00.157" v="583" actId="1076"/>
          <ac:picMkLst>
            <pc:docMk/>
            <pc:sldMk cId="2887432786" sldId="305"/>
            <ac:picMk id="31" creationId="{00000000-0000-0000-0000-000000000000}"/>
          </ac:picMkLst>
        </pc:picChg>
      </pc:sldChg>
      <pc:sldChg chg="modSp mod">
        <pc:chgData name="Matthias Scholer" userId="daad25a6-aca0-4d73-8528-03a468fe8ab9" providerId="ADAL" clId="{7D6CC86C-24F2-429D-A8D3-8BE9DF00DC96}" dt="2024-01-23T13:47:24.350" v="588" actId="20577"/>
        <pc:sldMkLst>
          <pc:docMk/>
          <pc:sldMk cId="4289611318" sldId="306"/>
        </pc:sldMkLst>
        <pc:spChg chg="mod">
          <ac:chgData name="Matthias Scholer" userId="daad25a6-aca0-4d73-8528-03a468fe8ab9" providerId="ADAL" clId="{7D6CC86C-24F2-429D-A8D3-8BE9DF00DC96}" dt="2024-01-23T13:47:24.350" v="588" actId="20577"/>
          <ac:spMkLst>
            <pc:docMk/>
            <pc:sldMk cId="4289611318" sldId="306"/>
            <ac:spMk id="14" creationId="{00000000-0000-0000-0000-000000000000}"/>
          </ac:spMkLst>
        </pc:spChg>
      </pc:sldChg>
      <pc:sldChg chg="del">
        <pc:chgData name="Matthias Scholer" userId="daad25a6-aca0-4d73-8528-03a468fe8ab9" providerId="ADAL" clId="{7D6CC86C-24F2-429D-A8D3-8BE9DF00DC96}" dt="2024-01-23T14:10:32.577" v="942" actId="47"/>
        <pc:sldMkLst>
          <pc:docMk/>
          <pc:sldMk cId="2670209583" sldId="308"/>
        </pc:sldMkLst>
      </pc:sldChg>
      <pc:sldChg chg="addSp modSp mod modNotesTx">
        <pc:chgData name="Matthias Scholer" userId="daad25a6-aca0-4d73-8528-03a468fe8ab9" providerId="ADAL" clId="{7D6CC86C-24F2-429D-A8D3-8BE9DF00DC96}" dt="2024-01-23T10:07:59.886" v="133"/>
        <pc:sldMkLst>
          <pc:docMk/>
          <pc:sldMk cId="1080844004" sldId="379"/>
        </pc:sldMkLst>
        <pc:spChg chg="add mod">
          <ac:chgData name="Matthias Scholer" userId="daad25a6-aca0-4d73-8528-03a468fe8ab9" providerId="ADAL" clId="{7D6CC86C-24F2-429D-A8D3-8BE9DF00DC96}" dt="2024-01-23T10:07:39.960" v="126" actId="1076"/>
          <ac:spMkLst>
            <pc:docMk/>
            <pc:sldMk cId="1080844004" sldId="379"/>
            <ac:spMk id="2" creationId="{9642CF1F-C3DB-3524-CBDA-1DE6F9683A32}"/>
          </ac:spMkLst>
        </pc:spChg>
        <pc:spChg chg="mod">
          <ac:chgData name="Matthias Scholer" userId="daad25a6-aca0-4d73-8528-03a468fe8ab9" providerId="ADAL" clId="{7D6CC86C-24F2-429D-A8D3-8BE9DF00DC96}" dt="2024-01-23T10:07:33.076" v="125" actId="1036"/>
          <ac:spMkLst>
            <pc:docMk/>
            <pc:sldMk cId="1080844004" sldId="379"/>
            <ac:spMk id="4"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5"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7"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9"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10"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11"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12"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13"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14" creationId="{00000000-0000-0000-0000-000000000000}"/>
          </ac:spMkLst>
        </pc:spChg>
        <pc:spChg chg="mod">
          <ac:chgData name="Matthias Scholer" userId="daad25a6-aca0-4d73-8528-03a468fe8ab9" providerId="ADAL" clId="{7D6CC86C-24F2-429D-A8D3-8BE9DF00DC96}" dt="2024-01-23T10:07:33.076" v="125" actId="1036"/>
          <ac:spMkLst>
            <pc:docMk/>
            <pc:sldMk cId="1080844004" sldId="379"/>
            <ac:spMk id="15" creationId="{00000000-0000-0000-0000-000000000000}"/>
          </ac:spMkLst>
        </pc:spChg>
        <pc:grpChg chg="mod">
          <ac:chgData name="Matthias Scholer" userId="daad25a6-aca0-4d73-8528-03a468fe8ab9" providerId="ADAL" clId="{7D6CC86C-24F2-429D-A8D3-8BE9DF00DC96}" dt="2024-01-23T10:07:33.076" v="125" actId="1036"/>
          <ac:grpSpMkLst>
            <pc:docMk/>
            <pc:sldMk cId="1080844004" sldId="379"/>
            <ac:grpSpMk id="8" creationId="{00000000-0000-0000-0000-000000000000}"/>
          </ac:grpSpMkLst>
        </pc:grpChg>
        <pc:picChg chg="mod">
          <ac:chgData name="Matthias Scholer" userId="daad25a6-aca0-4d73-8528-03a468fe8ab9" providerId="ADAL" clId="{7D6CC86C-24F2-429D-A8D3-8BE9DF00DC96}" dt="2024-01-23T10:07:33.076" v="125" actId="1036"/>
          <ac:picMkLst>
            <pc:docMk/>
            <pc:sldMk cId="1080844004" sldId="379"/>
            <ac:picMk id="1989634" creationId="{00000000-0000-0000-0000-000000000000}"/>
          </ac:picMkLst>
        </pc:picChg>
        <pc:picChg chg="mod">
          <ac:chgData name="Matthias Scholer" userId="daad25a6-aca0-4d73-8528-03a468fe8ab9" providerId="ADAL" clId="{7D6CC86C-24F2-429D-A8D3-8BE9DF00DC96}" dt="2024-01-23T10:07:33.076" v="125" actId="1036"/>
          <ac:picMkLst>
            <pc:docMk/>
            <pc:sldMk cId="1080844004" sldId="379"/>
            <ac:picMk id="1989640" creationId="{00000000-0000-0000-0000-000000000000}"/>
          </ac:picMkLst>
        </pc:picChg>
      </pc:sldChg>
      <pc:sldChg chg="modSp mod">
        <pc:chgData name="Matthias Scholer" userId="daad25a6-aca0-4d73-8528-03a468fe8ab9" providerId="ADAL" clId="{7D6CC86C-24F2-429D-A8D3-8BE9DF00DC96}" dt="2024-01-19T08:50:24.894" v="5" actId="108"/>
        <pc:sldMkLst>
          <pc:docMk/>
          <pc:sldMk cId="1349345707" sldId="382"/>
        </pc:sldMkLst>
        <pc:graphicFrameChg chg="mod modGraphic">
          <ac:chgData name="Matthias Scholer" userId="daad25a6-aca0-4d73-8528-03a468fe8ab9" providerId="ADAL" clId="{7D6CC86C-24F2-429D-A8D3-8BE9DF00DC96}" dt="2024-01-19T08:50:24.894" v="5" actId="108"/>
          <ac:graphicFrameMkLst>
            <pc:docMk/>
            <pc:sldMk cId="1349345707" sldId="382"/>
            <ac:graphicFrameMk id="2" creationId="{00000000-0000-0000-0000-000000000000}"/>
          </ac:graphicFrameMkLst>
        </pc:graphicFrameChg>
      </pc:sldChg>
      <pc:sldChg chg="addSp modSp mod">
        <pc:chgData name="Matthias Scholer" userId="daad25a6-aca0-4d73-8528-03a468fe8ab9" providerId="ADAL" clId="{7D6CC86C-24F2-429D-A8D3-8BE9DF00DC96}" dt="2024-01-23T14:10:24.947" v="941"/>
        <pc:sldMkLst>
          <pc:docMk/>
          <pc:sldMk cId="625374514" sldId="405"/>
        </pc:sldMkLst>
        <pc:spChg chg="add mod">
          <ac:chgData name="Matthias Scholer" userId="daad25a6-aca0-4d73-8528-03a468fe8ab9" providerId="ADAL" clId="{7D6CC86C-24F2-429D-A8D3-8BE9DF00DC96}" dt="2024-01-23T14:10:24.947" v="941"/>
          <ac:spMkLst>
            <pc:docMk/>
            <pc:sldMk cId="625374514" sldId="405"/>
            <ac:spMk id="6" creationId="{883431D8-DF65-BFE2-DC76-36CDFF908318}"/>
          </ac:spMkLst>
        </pc:spChg>
      </pc:sldChg>
      <pc:sldChg chg="del">
        <pc:chgData name="Matthias Scholer" userId="daad25a6-aca0-4d73-8528-03a468fe8ab9" providerId="ADAL" clId="{7D6CC86C-24F2-429D-A8D3-8BE9DF00DC96}" dt="2024-01-23T14:10:35.943" v="943" actId="47"/>
        <pc:sldMkLst>
          <pc:docMk/>
          <pc:sldMk cId="1634711033" sldId="406"/>
        </pc:sldMkLst>
      </pc:sldChg>
      <pc:sldChg chg="del">
        <pc:chgData name="Matthias Scholer" userId="daad25a6-aca0-4d73-8528-03a468fe8ab9" providerId="ADAL" clId="{7D6CC86C-24F2-429D-A8D3-8BE9DF00DC96}" dt="2024-01-23T14:09:39.043" v="938" actId="47"/>
        <pc:sldMkLst>
          <pc:docMk/>
          <pc:sldMk cId="18294815" sldId="408"/>
        </pc:sldMkLst>
      </pc:sldChg>
      <pc:sldChg chg="modSp mod">
        <pc:chgData name="Matthias Scholer" userId="daad25a6-aca0-4d73-8528-03a468fe8ab9" providerId="ADAL" clId="{7D6CC86C-24F2-429D-A8D3-8BE9DF00DC96}" dt="2024-01-23T13:55:38.705" v="707" actId="1076"/>
        <pc:sldMkLst>
          <pc:docMk/>
          <pc:sldMk cId="3097149474" sldId="417"/>
        </pc:sldMkLst>
        <pc:spChg chg="mod">
          <ac:chgData name="Matthias Scholer" userId="daad25a6-aca0-4d73-8528-03a468fe8ab9" providerId="ADAL" clId="{7D6CC86C-24F2-429D-A8D3-8BE9DF00DC96}" dt="2024-01-23T13:53:13.757" v="686" actId="14100"/>
          <ac:spMkLst>
            <pc:docMk/>
            <pc:sldMk cId="3097149474" sldId="417"/>
            <ac:spMk id="2" creationId="{00000000-0000-0000-0000-000000000000}"/>
          </ac:spMkLst>
        </pc:spChg>
        <pc:spChg chg="mod">
          <ac:chgData name="Matthias Scholer" userId="daad25a6-aca0-4d73-8528-03a468fe8ab9" providerId="ADAL" clId="{7D6CC86C-24F2-429D-A8D3-8BE9DF00DC96}" dt="2024-01-23T13:55:38.705" v="707" actId="1076"/>
          <ac:spMkLst>
            <pc:docMk/>
            <pc:sldMk cId="3097149474" sldId="417"/>
            <ac:spMk id="3" creationId="{00000000-0000-0000-0000-000000000000}"/>
          </ac:spMkLst>
        </pc:spChg>
        <pc:spChg chg="mod">
          <ac:chgData name="Matthias Scholer" userId="daad25a6-aca0-4d73-8528-03a468fe8ab9" providerId="ADAL" clId="{7D6CC86C-24F2-429D-A8D3-8BE9DF00DC96}" dt="2024-01-23T13:55:30.102" v="687" actId="1076"/>
          <ac:spMkLst>
            <pc:docMk/>
            <pc:sldMk cId="3097149474" sldId="417"/>
            <ac:spMk id="11" creationId="{00000000-0000-0000-0000-000000000000}"/>
          </ac:spMkLst>
        </pc:spChg>
        <pc:spChg chg="mod">
          <ac:chgData name="Matthias Scholer" userId="daad25a6-aca0-4d73-8528-03a468fe8ab9" providerId="ADAL" clId="{7D6CC86C-24F2-429D-A8D3-8BE9DF00DC96}" dt="2024-01-23T13:55:35.149" v="706" actId="1035"/>
          <ac:spMkLst>
            <pc:docMk/>
            <pc:sldMk cId="3097149474" sldId="417"/>
            <ac:spMk id="14" creationId="{00000000-0000-0000-0000-000000000000}"/>
          </ac:spMkLst>
        </pc:spChg>
        <pc:spChg chg="mod">
          <ac:chgData name="Matthias Scholer" userId="daad25a6-aca0-4d73-8528-03a468fe8ab9" providerId="ADAL" clId="{7D6CC86C-24F2-429D-A8D3-8BE9DF00DC96}" dt="2024-01-23T13:55:35.149" v="706" actId="1035"/>
          <ac:spMkLst>
            <pc:docMk/>
            <pc:sldMk cId="3097149474" sldId="417"/>
            <ac:spMk id="15" creationId="{00000000-0000-0000-0000-000000000000}"/>
          </ac:spMkLst>
        </pc:spChg>
        <pc:spChg chg="mod">
          <ac:chgData name="Matthias Scholer" userId="daad25a6-aca0-4d73-8528-03a468fe8ab9" providerId="ADAL" clId="{7D6CC86C-24F2-429D-A8D3-8BE9DF00DC96}" dt="2024-01-23T13:55:35.149" v="706" actId="1035"/>
          <ac:spMkLst>
            <pc:docMk/>
            <pc:sldMk cId="3097149474" sldId="417"/>
            <ac:spMk id="26" creationId="{00000000-0000-0000-0000-000000000000}"/>
          </ac:spMkLst>
        </pc:spChg>
        <pc:spChg chg="mod">
          <ac:chgData name="Matthias Scholer" userId="daad25a6-aca0-4d73-8528-03a468fe8ab9" providerId="ADAL" clId="{7D6CC86C-24F2-429D-A8D3-8BE9DF00DC96}" dt="2024-01-23T13:55:35.149" v="706" actId="1035"/>
          <ac:spMkLst>
            <pc:docMk/>
            <pc:sldMk cId="3097149474" sldId="417"/>
            <ac:spMk id="27" creationId="{00000000-0000-0000-0000-000000000000}"/>
          </ac:spMkLst>
        </pc:spChg>
        <pc:spChg chg="mod">
          <ac:chgData name="Matthias Scholer" userId="daad25a6-aca0-4d73-8528-03a468fe8ab9" providerId="ADAL" clId="{7D6CC86C-24F2-429D-A8D3-8BE9DF00DC96}" dt="2024-01-23T13:55:35.149" v="706" actId="1035"/>
          <ac:spMkLst>
            <pc:docMk/>
            <pc:sldMk cId="3097149474" sldId="417"/>
            <ac:spMk id="28" creationId="{00000000-0000-0000-0000-000000000000}"/>
          </ac:spMkLst>
        </pc:spChg>
        <pc:spChg chg="mod">
          <ac:chgData name="Matthias Scholer" userId="daad25a6-aca0-4d73-8528-03a468fe8ab9" providerId="ADAL" clId="{7D6CC86C-24F2-429D-A8D3-8BE9DF00DC96}" dt="2024-01-23T13:55:35.149" v="706" actId="1035"/>
          <ac:spMkLst>
            <pc:docMk/>
            <pc:sldMk cId="3097149474" sldId="417"/>
            <ac:spMk id="38" creationId="{00000000-0000-0000-0000-000000000000}"/>
          </ac:spMkLst>
        </pc:spChg>
        <pc:picChg chg="mod">
          <ac:chgData name="Matthias Scholer" userId="daad25a6-aca0-4d73-8528-03a468fe8ab9" providerId="ADAL" clId="{7D6CC86C-24F2-429D-A8D3-8BE9DF00DC96}" dt="2024-01-23T13:55:35.149" v="706" actId="1035"/>
          <ac:picMkLst>
            <pc:docMk/>
            <pc:sldMk cId="3097149474" sldId="417"/>
            <ac:picMk id="12" creationId="{00000000-0000-0000-0000-000000000000}"/>
          </ac:picMkLst>
        </pc:picChg>
        <pc:picChg chg="mod">
          <ac:chgData name="Matthias Scholer" userId="daad25a6-aca0-4d73-8528-03a468fe8ab9" providerId="ADAL" clId="{7D6CC86C-24F2-429D-A8D3-8BE9DF00DC96}" dt="2024-01-23T13:55:35.149" v="706" actId="1035"/>
          <ac:picMkLst>
            <pc:docMk/>
            <pc:sldMk cId="3097149474" sldId="417"/>
            <ac:picMk id="13" creationId="{00000000-0000-0000-0000-000000000000}"/>
          </ac:picMkLst>
        </pc:picChg>
        <pc:picChg chg="mod">
          <ac:chgData name="Matthias Scholer" userId="daad25a6-aca0-4d73-8528-03a468fe8ab9" providerId="ADAL" clId="{7D6CC86C-24F2-429D-A8D3-8BE9DF00DC96}" dt="2024-01-23T13:55:35.149" v="706" actId="1035"/>
          <ac:picMkLst>
            <pc:docMk/>
            <pc:sldMk cId="3097149474" sldId="417"/>
            <ac:picMk id="37" creationId="{00000000-0000-0000-0000-000000000000}"/>
          </ac:picMkLst>
        </pc:picChg>
        <pc:cxnChg chg="mod">
          <ac:chgData name="Matthias Scholer" userId="daad25a6-aca0-4d73-8528-03a468fe8ab9" providerId="ADAL" clId="{7D6CC86C-24F2-429D-A8D3-8BE9DF00DC96}" dt="2024-01-23T13:55:35.149" v="706" actId="1035"/>
          <ac:cxnSpMkLst>
            <pc:docMk/>
            <pc:sldMk cId="3097149474" sldId="417"/>
            <ac:cxnSpMk id="16"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17"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18"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19"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20"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21"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22"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23"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24"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25" creationId="{00000000-0000-0000-0000-000000000000}"/>
          </ac:cxnSpMkLst>
        </pc:cxnChg>
        <pc:cxnChg chg="mod">
          <ac:chgData name="Matthias Scholer" userId="daad25a6-aca0-4d73-8528-03a468fe8ab9" providerId="ADAL" clId="{7D6CC86C-24F2-429D-A8D3-8BE9DF00DC96}" dt="2024-01-23T13:55:35.149" v="706" actId="1035"/>
          <ac:cxnSpMkLst>
            <pc:docMk/>
            <pc:sldMk cId="3097149474" sldId="417"/>
            <ac:cxnSpMk id="41" creationId="{00000000-0000-0000-0000-000000000000}"/>
          </ac:cxnSpMkLst>
        </pc:cxnChg>
      </pc:sldChg>
      <pc:sldChg chg="modSp mod">
        <pc:chgData name="Matthias Scholer" userId="daad25a6-aca0-4d73-8528-03a468fe8ab9" providerId="ADAL" clId="{7D6CC86C-24F2-429D-A8D3-8BE9DF00DC96}" dt="2024-01-23T13:57:03.202" v="738" actId="207"/>
        <pc:sldMkLst>
          <pc:docMk/>
          <pc:sldMk cId="253219779" sldId="418"/>
        </pc:sldMkLst>
        <pc:spChg chg="mod">
          <ac:chgData name="Matthias Scholer" userId="daad25a6-aca0-4d73-8528-03a468fe8ab9" providerId="ADAL" clId="{7D6CC86C-24F2-429D-A8D3-8BE9DF00DC96}" dt="2024-01-23T13:55:52.639" v="709" actId="14100"/>
          <ac:spMkLst>
            <pc:docMk/>
            <pc:sldMk cId="253219779" sldId="418"/>
            <ac:spMk id="2" creationId="{00000000-0000-0000-0000-000000000000}"/>
          </ac:spMkLst>
        </pc:spChg>
        <pc:spChg chg="mod">
          <ac:chgData name="Matthias Scholer" userId="daad25a6-aca0-4d73-8528-03a468fe8ab9" providerId="ADAL" clId="{7D6CC86C-24F2-429D-A8D3-8BE9DF00DC96}" dt="2024-01-23T13:57:03.202" v="738" actId="207"/>
          <ac:spMkLst>
            <pc:docMk/>
            <pc:sldMk cId="253219779" sldId="418"/>
            <ac:spMk id="17" creationId="{00000000-0000-0000-0000-000000000000}"/>
          </ac:spMkLst>
        </pc:spChg>
        <pc:spChg chg="mod">
          <ac:chgData name="Matthias Scholer" userId="daad25a6-aca0-4d73-8528-03a468fe8ab9" providerId="ADAL" clId="{7D6CC86C-24F2-429D-A8D3-8BE9DF00DC96}" dt="2024-01-23T13:56:52.108" v="736" actId="1035"/>
          <ac:spMkLst>
            <pc:docMk/>
            <pc:sldMk cId="253219779" sldId="418"/>
            <ac:spMk id="22" creationId="{00000000-0000-0000-0000-000000000000}"/>
          </ac:spMkLst>
        </pc:spChg>
        <pc:grpChg chg="mod">
          <ac:chgData name="Matthias Scholer" userId="daad25a6-aca0-4d73-8528-03a468fe8ab9" providerId="ADAL" clId="{7D6CC86C-24F2-429D-A8D3-8BE9DF00DC96}" dt="2024-01-23T13:56:52.108" v="736" actId="1035"/>
          <ac:grpSpMkLst>
            <pc:docMk/>
            <pc:sldMk cId="253219779" sldId="418"/>
            <ac:grpSpMk id="15" creationId="{00000000-0000-0000-0000-000000000000}"/>
          </ac:grpSpMkLst>
        </pc:grpChg>
        <pc:grpChg chg="mod">
          <ac:chgData name="Matthias Scholer" userId="daad25a6-aca0-4d73-8528-03a468fe8ab9" providerId="ADAL" clId="{7D6CC86C-24F2-429D-A8D3-8BE9DF00DC96}" dt="2024-01-23T13:56:52.108" v="736" actId="1035"/>
          <ac:grpSpMkLst>
            <pc:docMk/>
            <pc:sldMk cId="253219779" sldId="418"/>
            <ac:grpSpMk id="18" creationId="{00000000-0000-0000-0000-000000000000}"/>
          </ac:grpSpMkLst>
        </pc:grpChg>
        <pc:picChg chg="mod">
          <ac:chgData name="Matthias Scholer" userId="daad25a6-aca0-4d73-8528-03a468fe8ab9" providerId="ADAL" clId="{7D6CC86C-24F2-429D-A8D3-8BE9DF00DC96}" dt="2024-01-23T13:56:52.108" v="736" actId="1035"/>
          <ac:picMkLst>
            <pc:docMk/>
            <pc:sldMk cId="253219779" sldId="418"/>
            <ac:picMk id="19" creationId="{00000000-0000-0000-0000-000000000000}"/>
          </ac:picMkLst>
        </pc:picChg>
        <pc:picChg chg="mod">
          <ac:chgData name="Matthias Scholer" userId="daad25a6-aca0-4d73-8528-03a468fe8ab9" providerId="ADAL" clId="{7D6CC86C-24F2-429D-A8D3-8BE9DF00DC96}" dt="2024-01-23T13:56:52.108" v="736" actId="1035"/>
          <ac:picMkLst>
            <pc:docMk/>
            <pc:sldMk cId="253219779" sldId="418"/>
            <ac:picMk id="21" creationId="{00000000-0000-0000-0000-000000000000}"/>
          </ac:picMkLst>
        </pc:picChg>
      </pc:sldChg>
      <pc:sldChg chg="modSp mod">
        <pc:chgData name="Matthias Scholer" userId="daad25a6-aca0-4d73-8528-03a468fe8ab9" providerId="ADAL" clId="{7D6CC86C-24F2-429D-A8D3-8BE9DF00DC96}" dt="2024-01-23T13:57:27.698" v="746" actId="1076"/>
        <pc:sldMkLst>
          <pc:docMk/>
          <pc:sldMk cId="1254178873" sldId="419"/>
        </pc:sldMkLst>
        <pc:spChg chg="mod">
          <ac:chgData name="Matthias Scholer" userId="daad25a6-aca0-4d73-8528-03a468fe8ab9" providerId="ADAL" clId="{7D6CC86C-24F2-429D-A8D3-8BE9DF00DC96}" dt="2024-01-23T13:57:19.892" v="740" actId="14100"/>
          <ac:spMkLst>
            <pc:docMk/>
            <pc:sldMk cId="1254178873" sldId="419"/>
            <ac:spMk id="2"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35"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36"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37"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38"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39"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0"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1"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2"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3"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4"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5"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6"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7"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8"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49"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0"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1"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2"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3"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4"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5"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6"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7"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8"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59" creationId="{00000000-0000-0000-0000-000000000000}"/>
          </ac:spMkLst>
        </pc:spChg>
        <pc:spChg chg="mod">
          <ac:chgData name="Matthias Scholer" userId="daad25a6-aca0-4d73-8528-03a468fe8ab9" providerId="ADAL" clId="{7D6CC86C-24F2-429D-A8D3-8BE9DF00DC96}" dt="2024-01-23T13:57:27.698" v="746" actId="1076"/>
          <ac:spMkLst>
            <pc:docMk/>
            <pc:sldMk cId="1254178873" sldId="419"/>
            <ac:spMk id="60" creationId="{00000000-0000-0000-0000-000000000000}"/>
          </ac:spMkLst>
        </pc:spChg>
        <pc:grpChg chg="mod">
          <ac:chgData name="Matthias Scholer" userId="daad25a6-aca0-4d73-8528-03a468fe8ab9" providerId="ADAL" clId="{7D6CC86C-24F2-429D-A8D3-8BE9DF00DC96}" dt="2024-01-23T13:57:27.698" v="746" actId="1076"/>
          <ac:grpSpMkLst>
            <pc:docMk/>
            <pc:sldMk cId="1254178873" sldId="419"/>
            <ac:grpSpMk id="33" creationId="{00000000-0000-0000-0000-000000000000}"/>
          </ac:grpSpMkLst>
        </pc:grpChg>
        <pc:picChg chg="mod">
          <ac:chgData name="Matthias Scholer" userId="daad25a6-aca0-4d73-8528-03a468fe8ab9" providerId="ADAL" clId="{7D6CC86C-24F2-429D-A8D3-8BE9DF00DC96}" dt="2024-01-23T13:57:27.698" v="746" actId="1076"/>
          <ac:picMkLst>
            <pc:docMk/>
            <pc:sldMk cId="1254178873" sldId="419"/>
            <ac:picMk id="34" creationId="{00000000-0000-0000-0000-000000000000}"/>
          </ac:picMkLst>
        </pc:picChg>
      </pc:sldChg>
      <pc:sldChg chg="modSp mod">
        <pc:chgData name="Matthias Scholer" userId="daad25a6-aca0-4d73-8528-03a468fe8ab9" providerId="ADAL" clId="{7D6CC86C-24F2-429D-A8D3-8BE9DF00DC96}" dt="2024-01-23T13:57:54.842" v="750" actId="1076"/>
        <pc:sldMkLst>
          <pc:docMk/>
          <pc:sldMk cId="2750802394" sldId="421"/>
        </pc:sldMkLst>
        <pc:spChg chg="mod">
          <ac:chgData name="Matthias Scholer" userId="daad25a6-aca0-4d73-8528-03a468fe8ab9" providerId="ADAL" clId="{7D6CC86C-24F2-429D-A8D3-8BE9DF00DC96}" dt="2024-01-23T13:57:50.514" v="749" actId="1076"/>
          <ac:spMkLst>
            <pc:docMk/>
            <pc:sldMk cId="2750802394" sldId="421"/>
            <ac:spMk id="2" creationId="{00000000-0000-0000-0000-000000000000}"/>
          </ac:spMkLst>
        </pc:spChg>
        <pc:spChg chg="mod">
          <ac:chgData name="Matthias Scholer" userId="daad25a6-aca0-4d73-8528-03a468fe8ab9" providerId="ADAL" clId="{7D6CC86C-24F2-429D-A8D3-8BE9DF00DC96}" dt="2024-01-23T13:57:54.842" v="750" actId="1076"/>
          <ac:spMkLst>
            <pc:docMk/>
            <pc:sldMk cId="2750802394" sldId="421"/>
            <ac:spMk id="22" creationId="{00000000-0000-0000-0000-000000000000}"/>
          </ac:spMkLst>
        </pc:spChg>
      </pc:sldChg>
      <pc:sldChg chg="modSp mod">
        <pc:chgData name="Matthias Scholer" userId="daad25a6-aca0-4d73-8528-03a468fe8ab9" providerId="ADAL" clId="{7D6CC86C-24F2-429D-A8D3-8BE9DF00DC96}" dt="2024-01-23T13:59:19.588" v="758" actId="1076"/>
        <pc:sldMkLst>
          <pc:docMk/>
          <pc:sldMk cId="3510241311" sldId="422"/>
        </pc:sldMkLst>
        <pc:spChg chg="mod">
          <ac:chgData name="Matthias Scholer" userId="daad25a6-aca0-4d73-8528-03a468fe8ab9" providerId="ADAL" clId="{7D6CC86C-24F2-429D-A8D3-8BE9DF00DC96}" dt="2024-01-23T13:58:26.393" v="751" actId="948"/>
          <ac:spMkLst>
            <pc:docMk/>
            <pc:sldMk cId="3510241311" sldId="422"/>
            <ac:spMk id="2" creationId="{00000000-0000-0000-0000-000000000000}"/>
          </ac:spMkLst>
        </pc:spChg>
        <pc:spChg chg="mod">
          <ac:chgData name="Matthias Scholer" userId="daad25a6-aca0-4d73-8528-03a468fe8ab9" providerId="ADAL" clId="{7D6CC86C-24F2-429D-A8D3-8BE9DF00DC96}" dt="2024-01-23T13:59:08.234" v="754" actId="1076"/>
          <ac:spMkLst>
            <pc:docMk/>
            <pc:sldMk cId="3510241311" sldId="422"/>
            <ac:spMk id="14" creationId="{00000000-0000-0000-0000-000000000000}"/>
          </ac:spMkLst>
        </pc:spChg>
        <pc:spChg chg="mod">
          <ac:chgData name="Matthias Scholer" userId="daad25a6-aca0-4d73-8528-03a468fe8ab9" providerId="ADAL" clId="{7D6CC86C-24F2-429D-A8D3-8BE9DF00DC96}" dt="2024-01-23T13:59:11.287" v="755" actId="14100"/>
          <ac:spMkLst>
            <pc:docMk/>
            <pc:sldMk cId="3510241311" sldId="422"/>
            <ac:spMk id="19" creationId="{00000000-0000-0000-0000-000000000000}"/>
          </ac:spMkLst>
        </pc:spChg>
        <pc:spChg chg="mod">
          <ac:chgData name="Matthias Scholer" userId="daad25a6-aca0-4d73-8528-03a468fe8ab9" providerId="ADAL" clId="{7D6CC86C-24F2-429D-A8D3-8BE9DF00DC96}" dt="2024-01-23T13:59:14.879" v="756" actId="1076"/>
          <ac:spMkLst>
            <pc:docMk/>
            <pc:sldMk cId="3510241311" sldId="422"/>
            <ac:spMk id="26" creationId="{00000000-0000-0000-0000-000000000000}"/>
          </ac:spMkLst>
        </pc:spChg>
        <pc:spChg chg="mod">
          <ac:chgData name="Matthias Scholer" userId="daad25a6-aca0-4d73-8528-03a468fe8ab9" providerId="ADAL" clId="{7D6CC86C-24F2-429D-A8D3-8BE9DF00DC96}" dt="2024-01-23T13:58:56.152" v="752" actId="1076"/>
          <ac:spMkLst>
            <pc:docMk/>
            <pc:sldMk cId="3510241311" sldId="422"/>
            <ac:spMk id="32" creationId="{00000000-0000-0000-0000-000000000000}"/>
          </ac:spMkLst>
        </pc:spChg>
        <pc:picChg chg="mod">
          <ac:chgData name="Matthias Scholer" userId="daad25a6-aca0-4d73-8528-03a468fe8ab9" providerId="ADAL" clId="{7D6CC86C-24F2-429D-A8D3-8BE9DF00DC96}" dt="2024-01-23T13:59:16.790" v="757" actId="1076"/>
          <ac:picMkLst>
            <pc:docMk/>
            <pc:sldMk cId="3510241311" sldId="422"/>
            <ac:picMk id="28" creationId="{00000000-0000-0000-0000-000000000000}"/>
          </ac:picMkLst>
        </pc:picChg>
        <pc:cxnChg chg="mod">
          <ac:chgData name="Matthias Scholer" userId="daad25a6-aca0-4d73-8528-03a468fe8ab9" providerId="ADAL" clId="{7D6CC86C-24F2-429D-A8D3-8BE9DF00DC96}" dt="2024-01-23T13:59:19.588" v="758" actId="1076"/>
          <ac:cxnSpMkLst>
            <pc:docMk/>
            <pc:sldMk cId="3510241311" sldId="422"/>
            <ac:cxnSpMk id="29" creationId="{00000000-0000-0000-0000-000000000000}"/>
          </ac:cxnSpMkLst>
        </pc:cxnChg>
      </pc:sldChg>
      <pc:sldChg chg="modSp mod">
        <pc:chgData name="Matthias Scholer" userId="daad25a6-aca0-4d73-8528-03a468fe8ab9" providerId="ADAL" clId="{7D6CC86C-24F2-429D-A8D3-8BE9DF00DC96}" dt="2024-01-23T14:03:30.938" v="837" actId="1036"/>
        <pc:sldMkLst>
          <pc:docMk/>
          <pc:sldMk cId="271597112" sldId="424"/>
        </pc:sldMkLst>
        <pc:spChg chg="mod">
          <ac:chgData name="Matthias Scholer" userId="daad25a6-aca0-4d73-8528-03a468fe8ab9" providerId="ADAL" clId="{7D6CC86C-24F2-429D-A8D3-8BE9DF00DC96}" dt="2024-01-23T14:02:25.255" v="811" actId="948"/>
          <ac:spMkLst>
            <pc:docMk/>
            <pc:sldMk cId="271597112" sldId="424"/>
            <ac:spMk id="2" creationId="{00000000-0000-0000-0000-000000000000}"/>
          </ac:spMkLst>
        </pc:spChg>
        <pc:spChg chg="mod">
          <ac:chgData name="Matthias Scholer" userId="daad25a6-aca0-4d73-8528-03a468fe8ab9" providerId="ADAL" clId="{7D6CC86C-24F2-429D-A8D3-8BE9DF00DC96}" dt="2024-01-23T14:03:30.938" v="837" actId="1036"/>
          <ac:spMkLst>
            <pc:docMk/>
            <pc:sldMk cId="271597112" sldId="424"/>
            <ac:spMk id="4" creationId="{00000000-0000-0000-0000-000000000000}"/>
          </ac:spMkLst>
        </pc:spChg>
        <pc:spChg chg="mod">
          <ac:chgData name="Matthias Scholer" userId="daad25a6-aca0-4d73-8528-03a468fe8ab9" providerId="ADAL" clId="{7D6CC86C-24F2-429D-A8D3-8BE9DF00DC96}" dt="2024-01-23T14:02:41.339" v="813" actId="1076"/>
          <ac:spMkLst>
            <pc:docMk/>
            <pc:sldMk cId="271597112" sldId="424"/>
            <ac:spMk id="8" creationId="{00000000-0000-0000-0000-000000000000}"/>
          </ac:spMkLst>
        </pc:spChg>
        <pc:spChg chg="mod">
          <ac:chgData name="Matthias Scholer" userId="daad25a6-aca0-4d73-8528-03a468fe8ab9" providerId="ADAL" clId="{7D6CC86C-24F2-429D-A8D3-8BE9DF00DC96}" dt="2024-01-23T14:02:44.004" v="814" actId="1076"/>
          <ac:spMkLst>
            <pc:docMk/>
            <pc:sldMk cId="271597112" sldId="424"/>
            <ac:spMk id="11" creationId="{00000000-0000-0000-0000-000000000000}"/>
          </ac:spMkLst>
        </pc:spChg>
      </pc:sldChg>
      <pc:sldChg chg="modSp mod">
        <pc:chgData name="Matthias Scholer" userId="daad25a6-aca0-4d73-8528-03a468fe8ab9" providerId="ADAL" clId="{7D6CC86C-24F2-429D-A8D3-8BE9DF00DC96}" dt="2024-01-23T14:04:11.068" v="840" actId="1076"/>
        <pc:sldMkLst>
          <pc:docMk/>
          <pc:sldMk cId="3209618348" sldId="425"/>
        </pc:sldMkLst>
        <pc:spChg chg="mod">
          <ac:chgData name="Matthias Scholer" userId="daad25a6-aca0-4d73-8528-03a468fe8ab9" providerId="ADAL" clId="{7D6CC86C-24F2-429D-A8D3-8BE9DF00DC96}" dt="2024-01-23T14:04:05.095" v="839" actId="14100"/>
          <ac:spMkLst>
            <pc:docMk/>
            <pc:sldMk cId="3209618348" sldId="425"/>
            <ac:spMk id="31" creationId="{00000000-0000-0000-0000-000000000000}"/>
          </ac:spMkLst>
        </pc:spChg>
        <pc:spChg chg="mod">
          <ac:chgData name="Matthias Scholer" userId="daad25a6-aca0-4d73-8528-03a468fe8ab9" providerId="ADAL" clId="{7D6CC86C-24F2-429D-A8D3-8BE9DF00DC96}" dt="2024-01-23T14:04:11.068" v="840" actId="1076"/>
          <ac:spMkLst>
            <pc:docMk/>
            <pc:sldMk cId="3209618348" sldId="425"/>
            <ac:spMk id="34" creationId="{00000000-0000-0000-0000-000000000000}"/>
          </ac:spMkLst>
        </pc:spChg>
        <pc:spChg chg="mod">
          <ac:chgData name="Matthias Scholer" userId="daad25a6-aca0-4d73-8528-03a468fe8ab9" providerId="ADAL" clId="{7D6CC86C-24F2-429D-A8D3-8BE9DF00DC96}" dt="2024-01-23T14:04:11.068" v="840" actId="1076"/>
          <ac:spMkLst>
            <pc:docMk/>
            <pc:sldMk cId="3209618348" sldId="425"/>
            <ac:spMk id="39" creationId="{00000000-0000-0000-0000-000000000000}"/>
          </ac:spMkLst>
        </pc:spChg>
        <pc:spChg chg="mod">
          <ac:chgData name="Matthias Scholer" userId="daad25a6-aca0-4d73-8528-03a468fe8ab9" providerId="ADAL" clId="{7D6CC86C-24F2-429D-A8D3-8BE9DF00DC96}" dt="2024-01-23T14:04:11.068" v="840" actId="1076"/>
          <ac:spMkLst>
            <pc:docMk/>
            <pc:sldMk cId="3209618348" sldId="425"/>
            <ac:spMk id="40" creationId="{00000000-0000-0000-0000-000000000000}"/>
          </ac:spMkLst>
        </pc:spChg>
        <pc:spChg chg="mod">
          <ac:chgData name="Matthias Scholer" userId="daad25a6-aca0-4d73-8528-03a468fe8ab9" providerId="ADAL" clId="{7D6CC86C-24F2-429D-A8D3-8BE9DF00DC96}" dt="2024-01-23T14:04:11.068" v="840" actId="1076"/>
          <ac:spMkLst>
            <pc:docMk/>
            <pc:sldMk cId="3209618348" sldId="425"/>
            <ac:spMk id="41" creationId="{00000000-0000-0000-0000-000000000000}"/>
          </ac:spMkLst>
        </pc:spChg>
        <pc:grpChg chg="mod">
          <ac:chgData name="Matthias Scholer" userId="daad25a6-aca0-4d73-8528-03a468fe8ab9" providerId="ADAL" clId="{7D6CC86C-24F2-429D-A8D3-8BE9DF00DC96}" dt="2024-01-23T14:04:11.068" v="840" actId="1076"/>
          <ac:grpSpMkLst>
            <pc:docMk/>
            <pc:sldMk cId="3209618348" sldId="425"/>
            <ac:grpSpMk id="32" creationId="{00000000-0000-0000-0000-000000000000}"/>
          </ac:grpSpMkLst>
        </pc:grpChg>
        <pc:picChg chg="mod">
          <ac:chgData name="Matthias Scholer" userId="daad25a6-aca0-4d73-8528-03a468fe8ab9" providerId="ADAL" clId="{7D6CC86C-24F2-429D-A8D3-8BE9DF00DC96}" dt="2024-01-23T14:04:11.068" v="840" actId="1076"/>
          <ac:picMkLst>
            <pc:docMk/>
            <pc:sldMk cId="3209618348" sldId="425"/>
            <ac:picMk id="33" creationId="{00000000-0000-0000-0000-000000000000}"/>
          </ac:picMkLst>
        </pc:picChg>
        <pc:picChg chg="mod">
          <ac:chgData name="Matthias Scholer" userId="daad25a6-aca0-4d73-8528-03a468fe8ab9" providerId="ADAL" clId="{7D6CC86C-24F2-429D-A8D3-8BE9DF00DC96}" dt="2024-01-23T14:04:11.068" v="840" actId="1076"/>
          <ac:picMkLst>
            <pc:docMk/>
            <pc:sldMk cId="3209618348" sldId="425"/>
            <ac:picMk id="35" creationId="{00000000-0000-0000-0000-000000000000}"/>
          </ac:picMkLst>
        </pc:picChg>
        <pc:picChg chg="mod">
          <ac:chgData name="Matthias Scholer" userId="daad25a6-aca0-4d73-8528-03a468fe8ab9" providerId="ADAL" clId="{7D6CC86C-24F2-429D-A8D3-8BE9DF00DC96}" dt="2024-01-23T14:04:11.068" v="840" actId="1076"/>
          <ac:picMkLst>
            <pc:docMk/>
            <pc:sldMk cId="3209618348" sldId="425"/>
            <ac:picMk id="37" creationId="{00000000-0000-0000-0000-000000000000}"/>
          </ac:picMkLst>
        </pc:picChg>
        <pc:picChg chg="mod">
          <ac:chgData name="Matthias Scholer" userId="daad25a6-aca0-4d73-8528-03a468fe8ab9" providerId="ADAL" clId="{7D6CC86C-24F2-429D-A8D3-8BE9DF00DC96}" dt="2024-01-23T14:04:11.068" v="840" actId="1076"/>
          <ac:picMkLst>
            <pc:docMk/>
            <pc:sldMk cId="3209618348" sldId="425"/>
            <ac:picMk id="38" creationId="{00000000-0000-0000-0000-000000000000}"/>
          </ac:picMkLst>
        </pc:picChg>
        <pc:picChg chg="mod">
          <ac:chgData name="Matthias Scholer" userId="daad25a6-aca0-4d73-8528-03a468fe8ab9" providerId="ADAL" clId="{7D6CC86C-24F2-429D-A8D3-8BE9DF00DC96}" dt="2024-01-23T14:04:11.068" v="840" actId="1076"/>
          <ac:picMkLst>
            <pc:docMk/>
            <pc:sldMk cId="3209618348" sldId="425"/>
            <ac:picMk id="42" creationId="{00000000-0000-0000-0000-000000000000}"/>
          </ac:picMkLst>
        </pc:picChg>
        <pc:picChg chg="mod">
          <ac:chgData name="Matthias Scholer" userId="daad25a6-aca0-4d73-8528-03a468fe8ab9" providerId="ADAL" clId="{7D6CC86C-24F2-429D-A8D3-8BE9DF00DC96}" dt="2024-01-23T14:04:11.068" v="840" actId="1076"/>
          <ac:picMkLst>
            <pc:docMk/>
            <pc:sldMk cId="3209618348" sldId="425"/>
            <ac:picMk id="43" creationId="{00000000-0000-0000-0000-000000000000}"/>
          </ac:picMkLst>
        </pc:picChg>
        <pc:cxnChg chg="mod">
          <ac:chgData name="Matthias Scholer" userId="daad25a6-aca0-4d73-8528-03a468fe8ab9" providerId="ADAL" clId="{7D6CC86C-24F2-429D-A8D3-8BE9DF00DC96}" dt="2024-01-23T14:04:11.068" v="840" actId="1076"/>
          <ac:cxnSpMkLst>
            <pc:docMk/>
            <pc:sldMk cId="3209618348" sldId="425"/>
            <ac:cxnSpMk id="36" creationId="{00000000-0000-0000-0000-000000000000}"/>
          </ac:cxnSpMkLst>
        </pc:cxnChg>
      </pc:sldChg>
      <pc:sldChg chg="modSp mod">
        <pc:chgData name="Matthias Scholer" userId="daad25a6-aca0-4d73-8528-03a468fe8ab9" providerId="ADAL" clId="{7D6CC86C-24F2-429D-A8D3-8BE9DF00DC96}" dt="2024-01-23T14:04:25.774" v="846" actId="1076"/>
        <pc:sldMkLst>
          <pc:docMk/>
          <pc:sldMk cId="3134678137" sldId="426"/>
        </pc:sldMkLst>
        <pc:spChg chg="mod">
          <ac:chgData name="Matthias Scholer" userId="daad25a6-aca0-4d73-8528-03a468fe8ab9" providerId="ADAL" clId="{7D6CC86C-24F2-429D-A8D3-8BE9DF00DC96}" dt="2024-01-23T14:04:22.502" v="845" actId="20577"/>
          <ac:spMkLst>
            <pc:docMk/>
            <pc:sldMk cId="3134678137" sldId="426"/>
            <ac:spMk id="14" creationId="{00000000-0000-0000-0000-000000000000}"/>
          </ac:spMkLst>
        </pc:spChg>
        <pc:spChg chg="mod">
          <ac:chgData name="Matthias Scholer" userId="daad25a6-aca0-4d73-8528-03a468fe8ab9" providerId="ADAL" clId="{7D6CC86C-24F2-429D-A8D3-8BE9DF00DC96}" dt="2024-01-23T14:04:25.774" v="846" actId="1076"/>
          <ac:spMkLst>
            <pc:docMk/>
            <pc:sldMk cId="3134678137" sldId="426"/>
            <ac:spMk id="17" creationId="{00000000-0000-0000-0000-000000000000}"/>
          </ac:spMkLst>
        </pc:spChg>
        <pc:picChg chg="mod">
          <ac:chgData name="Matthias Scholer" userId="daad25a6-aca0-4d73-8528-03a468fe8ab9" providerId="ADAL" clId="{7D6CC86C-24F2-429D-A8D3-8BE9DF00DC96}" dt="2024-01-23T14:04:15.889" v="841" actId="1076"/>
          <ac:picMkLst>
            <pc:docMk/>
            <pc:sldMk cId="3134678137" sldId="426"/>
            <ac:picMk id="4" creationId="{00000000-0000-0000-0000-000000000000}"/>
          </ac:picMkLst>
        </pc:picChg>
      </pc:sldChg>
      <pc:sldChg chg="modSp">
        <pc:chgData name="Matthias Scholer" userId="daad25a6-aca0-4d73-8528-03a468fe8ab9" providerId="ADAL" clId="{7D6CC86C-24F2-429D-A8D3-8BE9DF00DC96}" dt="2024-01-23T14:04:34.317" v="847" actId="1076"/>
        <pc:sldMkLst>
          <pc:docMk/>
          <pc:sldMk cId="2821475924" sldId="427"/>
        </pc:sldMkLst>
        <pc:spChg chg="mod">
          <ac:chgData name="Matthias Scholer" userId="daad25a6-aca0-4d73-8528-03a468fe8ab9" providerId="ADAL" clId="{7D6CC86C-24F2-429D-A8D3-8BE9DF00DC96}" dt="2024-01-23T14:04:34.317" v="847" actId="1076"/>
          <ac:spMkLst>
            <pc:docMk/>
            <pc:sldMk cId="2821475924" sldId="427"/>
            <ac:spMk id="38"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0"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2"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3"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4"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7"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8"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49"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50"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51" creationId="{00000000-0000-0000-0000-000000000000}"/>
          </ac:spMkLst>
        </pc:spChg>
        <pc:spChg chg="mod">
          <ac:chgData name="Matthias Scholer" userId="daad25a6-aca0-4d73-8528-03a468fe8ab9" providerId="ADAL" clId="{7D6CC86C-24F2-429D-A8D3-8BE9DF00DC96}" dt="2024-01-23T14:04:34.317" v="847" actId="1076"/>
          <ac:spMkLst>
            <pc:docMk/>
            <pc:sldMk cId="2821475924" sldId="427"/>
            <ac:spMk id="52" creationId="{00000000-0000-0000-0000-000000000000}"/>
          </ac:spMkLst>
        </pc:spChg>
        <pc:grpChg chg="mod">
          <ac:chgData name="Matthias Scholer" userId="daad25a6-aca0-4d73-8528-03a468fe8ab9" providerId="ADAL" clId="{7D6CC86C-24F2-429D-A8D3-8BE9DF00DC96}" dt="2024-01-23T14:04:34.317" v="847" actId="1076"/>
          <ac:grpSpMkLst>
            <pc:docMk/>
            <pc:sldMk cId="2821475924" sldId="427"/>
            <ac:grpSpMk id="37" creationId="{00000000-0000-0000-0000-000000000000}"/>
          </ac:grpSpMkLst>
        </pc:grpChg>
        <pc:picChg chg="mod">
          <ac:chgData name="Matthias Scholer" userId="daad25a6-aca0-4d73-8528-03a468fe8ab9" providerId="ADAL" clId="{7D6CC86C-24F2-429D-A8D3-8BE9DF00DC96}" dt="2024-01-23T14:04:34.317" v="847" actId="1076"/>
          <ac:picMkLst>
            <pc:docMk/>
            <pc:sldMk cId="2821475924" sldId="427"/>
            <ac:picMk id="39" creationId="{00000000-0000-0000-0000-000000000000}"/>
          </ac:picMkLst>
        </pc:picChg>
        <pc:picChg chg="mod">
          <ac:chgData name="Matthias Scholer" userId="daad25a6-aca0-4d73-8528-03a468fe8ab9" providerId="ADAL" clId="{7D6CC86C-24F2-429D-A8D3-8BE9DF00DC96}" dt="2024-01-23T14:04:34.317" v="847" actId="1076"/>
          <ac:picMkLst>
            <pc:docMk/>
            <pc:sldMk cId="2821475924" sldId="427"/>
            <ac:picMk id="45" creationId="{00000000-0000-0000-0000-000000000000}"/>
          </ac:picMkLst>
        </pc:picChg>
        <pc:picChg chg="mod">
          <ac:chgData name="Matthias Scholer" userId="daad25a6-aca0-4d73-8528-03a468fe8ab9" providerId="ADAL" clId="{7D6CC86C-24F2-429D-A8D3-8BE9DF00DC96}" dt="2024-01-23T14:04:34.317" v="847" actId="1076"/>
          <ac:picMkLst>
            <pc:docMk/>
            <pc:sldMk cId="2821475924" sldId="427"/>
            <ac:picMk id="46" creationId="{00000000-0000-0000-0000-000000000000}"/>
          </ac:picMkLst>
        </pc:picChg>
        <pc:cxnChg chg="mod">
          <ac:chgData name="Matthias Scholer" userId="daad25a6-aca0-4d73-8528-03a468fe8ab9" providerId="ADAL" clId="{7D6CC86C-24F2-429D-A8D3-8BE9DF00DC96}" dt="2024-01-23T14:04:34.317" v="847" actId="1076"/>
          <ac:cxnSpMkLst>
            <pc:docMk/>
            <pc:sldMk cId="2821475924" sldId="427"/>
            <ac:cxnSpMk id="41" creationId="{00000000-0000-0000-0000-000000000000}"/>
          </ac:cxnSpMkLst>
        </pc:cxnChg>
      </pc:sldChg>
      <pc:sldChg chg="modSp">
        <pc:chgData name="Matthias Scholer" userId="daad25a6-aca0-4d73-8528-03a468fe8ab9" providerId="ADAL" clId="{7D6CC86C-24F2-429D-A8D3-8BE9DF00DC96}" dt="2024-01-23T14:04:40.114" v="848" actId="1076"/>
        <pc:sldMkLst>
          <pc:docMk/>
          <pc:sldMk cId="2799414757" sldId="428"/>
        </pc:sldMkLst>
        <pc:spChg chg="mod">
          <ac:chgData name="Matthias Scholer" userId="daad25a6-aca0-4d73-8528-03a468fe8ab9" providerId="ADAL" clId="{7D6CC86C-24F2-429D-A8D3-8BE9DF00DC96}" dt="2024-01-23T14:04:40.114" v="848" actId="1076"/>
          <ac:spMkLst>
            <pc:docMk/>
            <pc:sldMk cId="2799414757" sldId="428"/>
            <ac:spMk id="10" creationId="{00000000-0000-0000-0000-000000000000}"/>
          </ac:spMkLst>
        </pc:spChg>
      </pc:sldChg>
      <pc:sldChg chg="modSp mod">
        <pc:chgData name="Matthias Scholer" userId="daad25a6-aca0-4d73-8528-03a468fe8ab9" providerId="ADAL" clId="{7D6CC86C-24F2-429D-A8D3-8BE9DF00DC96}" dt="2024-01-23T14:05:09.911" v="851" actId="1076"/>
        <pc:sldMkLst>
          <pc:docMk/>
          <pc:sldMk cId="2730342311" sldId="429"/>
        </pc:sldMkLst>
        <pc:spChg chg="mod">
          <ac:chgData name="Matthias Scholer" userId="daad25a6-aca0-4d73-8528-03a468fe8ab9" providerId="ADAL" clId="{7D6CC86C-24F2-429D-A8D3-8BE9DF00DC96}" dt="2024-01-23T14:05:02.638" v="850" actId="948"/>
          <ac:spMkLst>
            <pc:docMk/>
            <pc:sldMk cId="2730342311" sldId="429"/>
            <ac:spMk id="2" creationId="{00000000-0000-0000-0000-000000000000}"/>
          </ac:spMkLst>
        </pc:spChg>
        <pc:spChg chg="mod">
          <ac:chgData name="Matthias Scholer" userId="daad25a6-aca0-4d73-8528-03a468fe8ab9" providerId="ADAL" clId="{7D6CC86C-24F2-429D-A8D3-8BE9DF00DC96}" dt="2024-01-23T14:05:09.911" v="851" actId="1076"/>
          <ac:spMkLst>
            <pc:docMk/>
            <pc:sldMk cId="2730342311" sldId="429"/>
            <ac:spMk id="11" creationId="{00000000-0000-0000-0000-000000000000}"/>
          </ac:spMkLst>
        </pc:spChg>
        <pc:spChg chg="mod">
          <ac:chgData name="Matthias Scholer" userId="daad25a6-aca0-4d73-8528-03a468fe8ab9" providerId="ADAL" clId="{7D6CC86C-24F2-429D-A8D3-8BE9DF00DC96}" dt="2024-01-23T14:05:09.911" v="851" actId="1076"/>
          <ac:spMkLst>
            <pc:docMk/>
            <pc:sldMk cId="2730342311" sldId="429"/>
            <ac:spMk id="14" creationId="{00000000-0000-0000-0000-000000000000}"/>
          </ac:spMkLst>
        </pc:spChg>
        <pc:grpChg chg="mod">
          <ac:chgData name="Matthias Scholer" userId="daad25a6-aca0-4d73-8528-03a468fe8ab9" providerId="ADAL" clId="{7D6CC86C-24F2-429D-A8D3-8BE9DF00DC96}" dt="2024-01-23T14:05:09.911" v="851" actId="1076"/>
          <ac:grpSpMkLst>
            <pc:docMk/>
            <pc:sldMk cId="2730342311" sldId="429"/>
            <ac:grpSpMk id="10" creationId="{00000000-0000-0000-0000-000000000000}"/>
          </ac:grpSpMkLst>
        </pc:grpChg>
        <pc:picChg chg="mod">
          <ac:chgData name="Matthias Scholer" userId="daad25a6-aca0-4d73-8528-03a468fe8ab9" providerId="ADAL" clId="{7D6CC86C-24F2-429D-A8D3-8BE9DF00DC96}" dt="2024-01-23T14:05:09.911" v="851" actId="1076"/>
          <ac:picMkLst>
            <pc:docMk/>
            <pc:sldMk cId="2730342311" sldId="429"/>
            <ac:picMk id="12" creationId="{00000000-0000-0000-0000-000000000000}"/>
          </ac:picMkLst>
        </pc:picChg>
        <pc:picChg chg="mod">
          <ac:chgData name="Matthias Scholer" userId="daad25a6-aca0-4d73-8528-03a468fe8ab9" providerId="ADAL" clId="{7D6CC86C-24F2-429D-A8D3-8BE9DF00DC96}" dt="2024-01-23T14:05:09.911" v="851" actId="1076"/>
          <ac:picMkLst>
            <pc:docMk/>
            <pc:sldMk cId="2730342311" sldId="429"/>
            <ac:picMk id="13" creationId="{00000000-0000-0000-0000-000000000000}"/>
          </ac:picMkLst>
        </pc:picChg>
      </pc:sldChg>
      <pc:sldChg chg="modSp mod">
        <pc:chgData name="Matthias Scholer" userId="daad25a6-aca0-4d73-8528-03a468fe8ab9" providerId="ADAL" clId="{7D6CC86C-24F2-429D-A8D3-8BE9DF00DC96}" dt="2024-01-23T10:02:57.029" v="46" actId="207"/>
        <pc:sldMkLst>
          <pc:docMk/>
          <pc:sldMk cId="3982390243" sldId="430"/>
        </pc:sldMkLst>
        <pc:spChg chg="mod">
          <ac:chgData name="Matthias Scholer" userId="daad25a6-aca0-4d73-8528-03a468fe8ab9" providerId="ADAL" clId="{7D6CC86C-24F2-429D-A8D3-8BE9DF00DC96}" dt="2024-01-23T10:02:21.400" v="43" actId="207"/>
          <ac:spMkLst>
            <pc:docMk/>
            <pc:sldMk cId="3982390243" sldId="430"/>
            <ac:spMk id="39" creationId="{00000000-0000-0000-0000-000000000000}"/>
          </ac:spMkLst>
        </pc:spChg>
        <pc:spChg chg="mod">
          <ac:chgData name="Matthias Scholer" userId="daad25a6-aca0-4d73-8528-03a468fe8ab9" providerId="ADAL" clId="{7D6CC86C-24F2-429D-A8D3-8BE9DF00DC96}" dt="2024-01-23T10:02:31.016" v="44" actId="207"/>
          <ac:spMkLst>
            <pc:docMk/>
            <pc:sldMk cId="3982390243" sldId="430"/>
            <ac:spMk id="40" creationId="{00000000-0000-0000-0000-000000000000}"/>
          </ac:spMkLst>
        </pc:spChg>
        <pc:spChg chg="mod">
          <ac:chgData name="Matthias Scholer" userId="daad25a6-aca0-4d73-8528-03a468fe8ab9" providerId="ADAL" clId="{7D6CC86C-24F2-429D-A8D3-8BE9DF00DC96}" dt="2024-01-23T10:02:57.029" v="46" actId="207"/>
          <ac:spMkLst>
            <pc:docMk/>
            <pc:sldMk cId="3982390243" sldId="430"/>
            <ac:spMk id="41" creationId="{00000000-0000-0000-0000-000000000000}"/>
          </ac:spMkLst>
        </pc:spChg>
        <pc:spChg chg="mod">
          <ac:chgData name="Matthias Scholer" userId="daad25a6-aca0-4d73-8528-03a468fe8ab9" providerId="ADAL" clId="{7D6CC86C-24F2-429D-A8D3-8BE9DF00DC96}" dt="2024-01-23T10:02:50.933" v="45" actId="207"/>
          <ac:spMkLst>
            <pc:docMk/>
            <pc:sldMk cId="3982390243" sldId="430"/>
            <ac:spMk id="42" creationId="{00000000-0000-0000-0000-000000000000}"/>
          </ac:spMkLst>
        </pc:spChg>
        <pc:spChg chg="mod">
          <ac:chgData name="Matthias Scholer" userId="daad25a6-aca0-4d73-8528-03a468fe8ab9" providerId="ADAL" clId="{7D6CC86C-24F2-429D-A8D3-8BE9DF00DC96}" dt="2024-01-23T10:02:11.378" v="41" actId="207"/>
          <ac:spMkLst>
            <pc:docMk/>
            <pc:sldMk cId="3982390243" sldId="430"/>
            <ac:spMk id="44" creationId="{00000000-0000-0000-0000-000000000000}"/>
          </ac:spMkLst>
        </pc:spChg>
        <pc:spChg chg="mod">
          <ac:chgData name="Matthias Scholer" userId="daad25a6-aca0-4d73-8528-03a468fe8ab9" providerId="ADAL" clId="{7D6CC86C-24F2-429D-A8D3-8BE9DF00DC96}" dt="2024-01-23T10:02:15.001" v="42" actId="207"/>
          <ac:spMkLst>
            <pc:docMk/>
            <pc:sldMk cId="3982390243" sldId="430"/>
            <ac:spMk id="45" creationId="{00000000-0000-0000-0000-000000000000}"/>
          </ac:spMkLst>
        </pc:spChg>
        <pc:spChg chg="mod">
          <ac:chgData name="Matthias Scholer" userId="daad25a6-aca0-4d73-8528-03a468fe8ab9" providerId="ADAL" clId="{7D6CC86C-24F2-429D-A8D3-8BE9DF00DC96}" dt="2024-01-23T10:02:01.962" v="39" actId="207"/>
          <ac:spMkLst>
            <pc:docMk/>
            <pc:sldMk cId="3982390243" sldId="430"/>
            <ac:spMk id="47" creationId="{00000000-0000-0000-0000-000000000000}"/>
          </ac:spMkLst>
        </pc:spChg>
        <pc:spChg chg="mod">
          <ac:chgData name="Matthias Scholer" userId="daad25a6-aca0-4d73-8528-03a468fe8ab9" providerId="ADAL" clId="{7D6CC86C-24F2-429D-A8D3-8BE9DF00DC96}" dt="2024-01-23T10:02:05.914" v="40" actId="207"/>
          <ac:spMkLst>
            <pc:docMk/>
            <pc:sldMk cId="3982390243" sldId="430"/>
            <ac:spMk id="48" creationId="{00000000-0000-0000-0000-000000000000}"/>
          </ac:spMkLst>
        </pc:spChg>
      </pc:sldChg>
      <pc:sldChg chg="modSp mod">
        <pc:chgData name="Matthias Scholer" userId="daad25a6-aca0-4d73-8528-03a468fe8ab9" providerId="ADAL" clId="{7D6CC86C-24F2-429D-A8D3-8BE9DF00DC96}" dt="2024-01-23T10:05:22.344" v="71" actId="1076"/>
        <pc:sldMkLst>
          <pc:docMk/>
          <pc:sldMk cId="1031261644" sldId="431"/>
        </pc:sldMkLst>
        <pc:spChg chg="mod">
          <ac:chgData name="Matthias Scholer" userId="daad25a6-aca0-4d73-8528-03a468fe8ab9" providerId="ADAL" clId="{7D6CC86C-24F2-429D-A8D3-8BE9DF00DC96}" dt="2024-01-23T10:03:44.344" v="47" actId="948"/>
          <ac:spMkLst>
            <pc:docMk/>
            <pc:sldMk cId="1031261644" sldId="431"/>
            <ac:spMk id="2"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46"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47"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49"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50"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51"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52"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57"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60"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61"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62"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63"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64"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1"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2"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3"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4"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5"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7" creationId="{00000000-0000-0000-0000-000000000000}"/>
          </ac:spMkLst>
        </pc:spChg>
        <pc:spChg chg="mod">
          <ac:chgData name="Matthias Scholer" userId="daad25a6-aca0-4d73-8528-03a468fe8ab9" providerId="ADAL" clId="{7D6CC86C-24F2-429D-A8D3-8BE9DF00DC96}" dt="2024-01-23T10:05:22.344" v="71" actId="1076"/>
          <ac:spMkLst>
            <pc:docMk/>
            <pc:sldMk cId="1031261644" sldId="431"/>
            <ac:spMk id="78" creationId="{00000000-0000-0000-0000-000000000000}"/>
          </ac:spMkLst>
        </pc:spChg>
        <pc:grpChg chg="mod">
          <ac:chgData name="Matthias Scholer" userId="daad25a6-aca0-4d73-8528-03a468fe8ab9" providerId="ADAL" clId="{7D6CC86C-24F2-429D-A8D3-8BE9DF00DC96}" dt="2024-01-23T10:05:22.344" v="71" actId="1076"/>
          <ac:grpSpMkLst>
            <pc:docMk/>
            <pc:sldMk cId="1031261644" sldId="431"/>
            <ac:grpSpMk id="43" creationId="{00000000-0000-0000-0000-000000000000}"/>
          </ac:grpSpMkLst>
        </pc:grpChg>
        <pc:grpChg chg="mod">
          <ac:chgData name="Matthias Scholer" userId="daad25a6-aca0-4d73-8528-03a468fe8ab9" providerId="ADAL" clId="{7D6CC86C-24F2-429D-A8D3-8BE9DF00DC96}" dt="2024-01-23T10:05:22.344" v="71" actId="1076"/>
          <ac:grpSpMkLst>
            <pc:docMk/>
            <pc:sldMk cId="1031261644" sldId="431"/>
            <ac:grpSpMk id="48" creationId="{00000000-0000-0000-0000-000000000000}"/>
          </ac:grpSpMkLst>
        </pc:grpChg>
        <pc:grpChg chg="mod">
          <ac:chgData name="Matthias Scholer" userId="daad25a6-aca0-4d73-8528-03a468fe8ab9" providerId="ADAL" clId="{7D6CC86C-24F2-429D-A8D3-8BE9DF00DC96}" dt="2024-01-23T10:05:22.344" v="71" actId="1076"/>
          <ac:grpSpMkLst>
            <pc:docMk/>
            <pc:sldMk cId="1031261644" sldId="431"/>
            <ac:grpSpMk id="59" creationId="{00000000-0000-0000-0000-000000000000}"/>
          </ac:grpSpMkLst>
        </pc:grpChg>
        <pc:cxnChg chg="mod">
          <ac:chgData name="Matthias Scholer" userId="daad25a6-aca0-4d73-8528-03a468fe8ab9" providerId="ADAL" clId="{7D6CC86C-24F2-429D-A8D3-8BE9DF00DC96}" dt="2024-01-23T10:05:22.344" v="71" actId="1076"/>
          <ac:cxnSpMkLst>
            <pc:docMk/>
            <pc:sldMk cId="1031261644" sldId="431"/>
            <ac:cxnSpMk id="44" creationId="{00000000-0000-0000-0000-000000000000}"/>
          </ac:cxnSpMkLst>
        </pc:cxnChg>
        <pc:cxnChg chg="mod">
          <ac:chgData name="Matthias Scholer" userId="daad25a6-aca0-4d73-8528-03a468fe8ab9" providerId="ADAL" clId="{7D6CC86C-24F2-429D-A8D3-8BE9DF00DC96}" dt="2024-01-23T10:05:22.344" v="71" actId="1076"/>
          <ac:cxnSpMkLst>
            <pc:docMk/>
            <pc:sldMk cId="1031261644" sldId="431"/>
            <ac:cxnSpMk id="53" creationId="{00000000-0000-0000-0000-000000000000}"/>
          </ac:cxnSpMkLst>
        </pc:cxnChg>
        <pc:cxnChg chg="mod">
          <ac:chgData name="Matthias Scholer" userId="daad25a6-aca0-4d73-8528-03a468fe8ab9" providerId="ADAL" clId="{7D6CC86C-24F2-429D-A8D3-8BE9DF00DC96}" dt="2024-01-23T10:05:22.344" v="71" actId="1076"/>
          <ac:cxnSpMkLst>
            <pc:docMk/>
            <pc:sldMk cId="1031261644" sldId="431"/>
            <ac:cxnSpMk id="54" creationId="{00000000-0000-0000-0000-000000000000}"/>
          </ac:cxnSpMkLst>
        </pc:cxnChg>
        <pc:cxnChg chg="mod">
          <ac:chgData name="Matthias Scholer" userId="daad25a6-aca0-4d73-8528-03a468fe8ab9" providerId="ADAL" clId="{7D6CC86C-24F2-429D-A8D3-8BE9DF00DC96}" dt="2024-01-23T10:05:22.344" v="71" actId="1076"/>
          <ac:cxnSpMkLst>
            <pc:docMk/>
            <pc:sldMk cId="1031261644" sldId="431"/>
            <ac:cxnSpMk id="55" creationId="{00000000-0000-0000-0000-000000000000}"/>
          </ac:cxnSpMkLst>
        </pc:cxnChg>
        <pc:cxnChg chg="mod">
          <ac:chgData name="Matthias Scholer" userId="daad25a6-aca0-4d73-8528-03a468fe8ab9" providerId="ADAL" clId="{7D6CC86C-24F2-429D-A8D3-8BE9DF00DC96}" dt="2024-01-23T10:05:22.344" v="71" actId="1076"/>
          <ac:cxnSpMkLst>
            <pc:docMk/>
            <pc:sldMk cId="1031261644" sldId="431"/>
            <ac:cxnSpMk id="56" creationId="{00000000-0000-0000-0000-000000000000}"/>
          </ac:cxnSpMkLst>
        </pc:cxnChg>
      </pc:sldChg>
      <pc:sldChg chg="addSp modSp mod">
        <pc:chgData name="Matthias Scholer" userId="daad25a6-aca0-4d73-8528-03a468fe8ab9" providerId="ADAL" clId="{7D6CC86C-24F2-429D-A8D3-8BE9DF00DC96}" dt="2024-01-23T14:06:31.344" v="893" actId="14100"/>
        <pc:sldMkLst>
          <pc:docMk/>
          <pc:sldMk cId="3330145430" sldId="433"/>
        </pc:sldMkLst>
        <pc:spChg chg="mod">
          <ac:chgData name="Matthias Scholer" userId="daad25a6-aca0-4d73-8528-03a468fe8ab9" providerId="ADAL" clId="{7D6CC86C-24F2-429D-A8D3-8BE9DF00DC96}" dt="2024-01-23T14:05:36.557" v="856" actId="20577"/>
          <ac:spMkLst>
            <pc:docMk/>
            <pc:sldMk cId="3330145430" sldId="433"/>
            <ac:spMk id="2" creationId="{00000000-0000-0000-0000-000000000000}"/>
          </ac:spMkLst>
        </pc:spChg>
        <pc:spChg chg="add mod">
          <ac:chgData name="Matthias Scholer" userId="daad25a6-aca0-4d73-8528-03a468fe8ab9" providerId="ADAL" clId="{7D6CC86C-24F2-429D-A8D3-8BE9DF00DC96}" dt="2024-01-23T14:06:07.644" v="863" actId="14100"/>
          <ac:spMkLst>
            <pc:docMk/>
            <pc:sldMk cId="3330145430" sldId="433"/>
            <ac:spMk id="8" creationId="{D5C1DAEC-F592-D9AA-14E5-602CBD843750}"/>
          </ac:spMkLst>
        </pc:spChg>
        <pc:spChg chg="mod">
          <ac:chgData name="Matthias Scholer" userId="daad25a6-aca0-4d73-8528-03a468fe8ab9" providerId="ADAL" clId="{7D6CC86C-24F2-429D-A8D3-8BE9DF00DC96}" dt="2024-01-23T14:05:58.974" v="860" actId="1076"/>
          <ac:spMkLst>
            <pc:docMk/>
            <pc:sldMk cId="3330145430" sldId="433"/>
            <ac:spMk id="26" creationId="{00000000-0000-0000-0000-000000000000}"/>
          </ac:spMkLst>
        </pc:spChg>
        <pc:spChg chg="mod">
          <ac:chgData name="Matthias Scholer" userId="daad25a6-aca0-4d73-8528-03a468fe8ab9" providerId="ADAL" clId="{7D6CC86C-24F2-429D-A8D3-8BE9DF00DC96}" dt="2024-01-23T14:06:31.344" v="893" actId="14100"/>
          <ac:spMkLst>
            <pc:docMk/>
            <pc:sldMk cId="3330145430" sldId="433"/>
            <ac:spMk id="28" creationId="{00000000-0000-0000-0000-000000000000}"/>
          </ac:spMkLst>
        </pc:spChg>
        <pc:picChg chg="mod">
          <ac:chgData name="Matthias Scholer" userId="daad25a6-aca0-4d73-8528-03a468fe8ab9" providerId="ADAL" clId="{7D6CC86C-24F2-429D-A8D3-8BE9DF00DC96}" dt="2024-01-23T14:06:24.520" v="891" actId="14100"/>
          <ac:picMkLst>
            <pc:docMk/>
            <pc:sldMk cId="3330145430" sldId="433"/>
            <ac:picMk id="5" creationId="{00000000-0000-0000-0000-000000000000}"/>
          </ac:picMkLst>
        </pc:picChg>
        <pc:picChg chg="mod">
          <ac:chgData name="Matthias Scholer" userId="daad25a6-aca0-4d73-8528-03a468fe8ab9" providerId="ADAL" clId="{7D6CC86C-24F2-429D-A8D3-8BE9DF00DC96}" dt="2024-01-23T14:06:14.802" v="889" actId="1036"/>
          <ac:picMkLst>
            <pc:docMk/>
            <pc:sldMk cId="3330145430" sldId="433"/>
            <ac:picMk id="7" creationId="{00000000-0000-0000-0000-000000000000}"/>
          </ac:picMkLst>
        </pc:picChg>
      </pc:sldChg>
      <pc:sldChg chg="modSp mod">
        <pc:chgData name="Matthias Scholer" userId="daad25a6-aca0-4d73-8528-03a468fe8ab9" providerId="ADAL" clId="{7D6CC86C-24F2-429D-A8D3-8BE9DF00DC96}" dt="2024-01-23T14:07:22.267" v="911" actId="1076"/>
        <pc:sldMkLst>
          <pc:docMk/>
          <pc:sldMk cId="2593616376" sldId="434"/>
        </pc:sldMkLst>
        <pc:spChg chg="mod">
          <ac:chgData name="Matthias Scholer" userId="daad25a6-aca0-4d73-8528-03a468fe8ab9" providerId="ADAL" clId="{7D6CC86C-24F2-429D-A8D3-8BE9DF00DC96}" dt="2024-01-23T14:07:03.019" v="904" actId="20577"/>
          <ac:spMkLst>
            <pc:docMk/>
            <pc:sldMk cId="2593616376" sldId="434"/>
            <ac:spMk id="2" creationId="{00000000-0000-0000-0000-000000000000}"/>
          </ac:spMkLst>
        </pc:spChg>
        <pc:picChg chg="mod">
          <ac:chgData name="Matthias Scholer" userId="daad25a6-aca0-4d73-8528-03a468fe8ab9" providerId="ADAL" clId="{7D6CC86C-24F2-429D-A8D3-8BE9DF00DC96}" dt="2024-01-23T14:07:22.267" v="911" actId="1076"/>
          <ac:picMkLst>
            <pc:docMk/>
            <pc:sldMk cId="2593616376" sldId="434"/>
            <ac:picMk id="21" creationId="{00000000-0000-0000-0000-000000000000}"/>
          </ac:picMkLst>
        </pc:picChg>
      </pc:sldChg>
      <pc:sldChg chg="modSp mod">
        <pc:chgData name="Matthias Scholer" userId="daad25a6-aca0-4d73-8528-03a468fe8ab9" providerId="ADAL" clId="{7D6CC86C-24F2-429D-A8D3-8BE9DF00DC96}" dt="2024-01-23T14:07:49.184" v="923" actId="1076"/>
        <pc:sldMkLst>
          <pc:docMk/>
          <pc:sldMk cId="2524840938" sldId="435"/>
        </pc:sldMkLst>
        <pc:spChg chg="mod">
          <ac:chgData name="Matthias Scholer" userId="daad25a6-aca0-4d73-8528-03a468fe8ab9" providerId="ADAL" clId="{7D6CC86C-24F2-429D-A8D3-8BE9DF00DC96}" dt="2024-01-23T14:07:39.850" v="915" actId="20577"/>
          <ac:spMkLst>
            <pc:docMk/>
            <pc:sldMk cId="2524840938" sldId="435"/>
            <ac:spMk id="2"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29"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3"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4"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5"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6"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7"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8"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39" creationId="{00000000-0000-0000-0000-000000000000}"/>
          </ac:spMkLst>
        </pc:spChg>
        <pc:spChg chg="mod">
          <ac:chgData name="Matthias Scholer" userId="daad25a6-aca0-4d73-8528-03a468fe8ab9" providerId="ADAL" clId="{7D6CC86C-24F2-429D-A8D3-8BE9DF00DC96}" dt="2024-01-23T14:07:49.184" v="923" actId="1076"/>
          <ac:spMkLst>
            <pc:docMk/>
            <pc:sldMk cId="2524840938" sldId="435"/>
            <ac:spMk id="42" creationId="{00000000-0000-0000-0000-000000000000}"/>
          </ac:spMkLst>
        </pc:spChg>
        <pc:grpChg chg="mod">
          <ac:chgData name="Matthias Scholer" userId="daad25a6-aca0-4d73-8528-03a468fe8ab9" providerId="ADAL" clId="{7D6CC86C-24F2-429D-A8D3-8BE9DF00DC96}" dt="2024-01-23T14:07:49.184" v="923" actId="1076"/>
          <ac:grpSpMkLst>
            <pc:docMk/>
            <pc:sldMk cId="2524840938" sldId="435"/>
            <ac:grpSpMk id="7" creationId="{00000000-0000-0000-0000-000000000000}"/>
          </ac:grpSpMkLst>
        </pc:grpChg>
        <pc:picChg chg="mod">
          <ac:chgData name="Matthias Scholer" userId="daad25a6-aca0-4d73-8528-03a468fe8ab9" providerId="ADAL" clId="{7D6CC86C-24F2-429D-A8D3-8BE9DF00DC96}" dt="2024-01-23T14:07:49.184" v="923" actId="1076"/>
          <ac:picMkLst>
            <pc:docMk/>
            <pc:sldMk cId="2524840938" sldId="435"/>
            <ac:picMk id="26"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27"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28"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30"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31"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32"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40" creationId="{00000000-0000-0000-0000-000000000000}"/>
          </ac:picMkLst>
        </pc:picChg>
        <pc:picChg chg="mod">
          <ac:chgData name="Matthias Scholer" userId="daad25a6-aca0-4d73-8528-03a468fe8ab9" providerId="ADAL" clId="{7D6CC86C-24F2-429D-A8D3-8BE9DF00DC96}" dt="2024-01-23T14:07:49.184" v="923" actId="1076"/>
          <ac:picMkLst>
            <pc:docMk/>
            <pc:sldMk cId="2524840938" sldId="435"/>
            <ac:picMk id="41" creationId="{00000000-0000-0000-0000-000000000000}"/>
          </ac:picMkLst>
        </pc:picChg>
      </pc:sldChg>
      <pc:sldChg chg="addSp delSp modSp mod">
        <pc:chgData name="Matthias Scholer" userId="daad25a6-aca0-4d73-8528-03a468fe8ab9" providerId="ADAL" clId="{7D6CC86C-24F2-429D-A8D3-8BE9DF00DC96}" dt="2024-01-25T09:08:24.149" v="1162" actId="20577"/>
        <pc:sldMkLst>
          <pc:docMk/>
          <pc:sldMk cId="1860611279" sldId="437"/>
        </pc:sldMkLst>
        <pc:spChg chg="mod">
          <ac:chgData name="Matthias Scholer" userId="daad25a6-aca0-4d73-8528-03a468fe8ab9" providerId="ADAL" clId="{7D6CC86C-24F2-429D-A8D3-8BE9DF00DC96}" dt="2024-01-25T09:08:24.149" v="1162" actId="20577"/>
          <ac:spMkLst>
            <pc:docMk/>
            <pc:sldMk cId="1860611279" sldId="437"/>
            <ac:spMk id="2" creationId="{00000000-0000-0000-0000-000000000000}"/>
          </ac:spMkLst>
        </pc:spChg>
        <pc:spChg chg="mod">
          <ac:chgData name="Matthias Scholer" userId="daad25a6-aca0-4d73-8528-03a468fe8ab9" providerId="ADAL" clId="{7D6CC86C-24F2-429D-A8D3-8BE9DF00DC96}" dt="2024-01-25T09:07:15.569" v="1147"/>
          <ac:spMkLst>
            <pc:docMk/>
            <pc:sldMk cId="1860611279" sldId="437"/>
            <ac:spMk id="11" creationId="{00000000-0000-0000-0000-000000000000}"/>
          </ac:spMkLst>
        </pc:spChg>
        <pc:spChg chg="mod">
          <ac:chgData name="Matthias Scholer" userId="daad25a6-aca0-4d73-8528-03a468fe8ab9" providerId="ADAL" clId="{7D6CC86C-24F2-429D-A8D3-8BE9DF00DC96}" dt="2024-01-25T09:06:15.618" v="1138" actId="14100"/>
          <ac:spMkLst>
            <pc:docMk/>
            <pc:sldMk cId="1860611279" sldId="437"/>
            <ac:spMk id="12" creationId="{00000000-0000-0000-0000-000000000000}"/>
          </ac:spMkLst>
        </pc:spChg>
        <pc:spChg chg="mod">
          <ac:chgData name="Matthias Scholer" userId="daad25a6-aca0-4d73-8528-03a468fe8ab9" providerId="ADAL" clId="{7D6CC86C-24F2-429D-A8D3-8BE9DF00DC96}" dt="2024-01-25T09:05:55.103" v="1128" actId="1038"/>
          <ac:spMkLst>
            <pc:docMk/>
            <pc:sldMk cId="1860611279" sldId="437"/>
            <ac:spMk id="16" creationId="{00000000-0000-0000-0000-000000000000}"/>
          </ac:spMkLst>
        </pc:spChg>
        <pc:spChg chg="mod">
          <ac:chgData name="Matthias Scholer" userId="daad25a6-aca0-4d73-8528-03a468fe8ab9" providerId="ADAL" clId="{7D6CC86C-24F2-429D-A8D3-8BE9DF00DC96}" dt="2024-01-23T14:08:43.347" v="934" actId="1076"/>
          <ac:spMkLst>
            <pc:docMk/>
            <pc:sldMk cId="1860611279" sldId="437"/>
            <ac:spMk id="20" creationId="{00000000-0000-0000-0000-000000000000}"/>
          </ac:spMkLst>
        </pc:spChg>
        <pc:picChg chg="mod">
          <ac:chgData name="Matthias Scholer" userId="daad25a6-aca0-4d73-8528-03a468fe8ab9" providerId="ADAL" clId="{7D6CC86C-24F2-429D-A8D3-8BE9DF00DC96}" dt="2024-01-25T09:05:32.601" v="1094" actId="1076"/>
          <ac:picMkLst>
            <pc:docMk/>
            <pc:sldMk cId="1860611279" sldId="437"/>
            <ac:picMk id="3" creationId="{00000000-0000-0000-0000-000000000000}"/>
          </ac:picMkLst>
        </pc:picChg>
        <pc:picChg chg="del">
          <ac:chgData name="Matthias Scholer" userId="daad25a6-aca0-4d73-8528-03a468fe8ab9" providerId="ADAL" clId="{7D6CC86C-24F2-429D-A8D3-8BE9DF00DC96}" dt="2024-01-23T14:08:25.450" v="924" actId="478"/>
          <ac:picMkLst>
            <pc:docMk/>
            <pc:sldMk cId="1860611279" sldId="437"/>
            <ac:picMk id="4" creationId="{00000000-0000-0000-0000-000000000000}"/>
          </ac:picMkLst>
        </pc:picChg>
        <pc:picChg chg="add mod">
          <ac:chgData name="Matthias Scholer" userId="daad25a6-aca0-4d73-8528-03a468fe8ab9" providerId="ADAL" clId="{7D6CC86C-24F2-429D-A8D3-8BE9DF00DC96}" dt="2024-01-25T09:05:51.935" v="1099" actId="1076"/>
          <ac:picMkLst>
            <pc:docMk/>
            <pc:sldMk cId="1860611279" sldId="437"/>
            <ac:picMk id="5" creationId="{6090734A-A0A6-B849-44F9-E03D5B139B09}"/>
          </ac:picMkLst>
        </pc:picChg>
      </pc:sldChg>
      <pc:sldChg chg="addSp delSp modSp mod">
        <pc:chgData name="Matthias Scholer" userId="daad25a6-aca0-4d73-8528-03a468fe8ab9" providerId="ADAL" clId="{7D6CC86C-24F2-429D-A8D3-8BE9DF00DC96}" dt="2024-01-25T09:08:35.498" v="1169" actId="14100"/>
        <pc:sldMkLst>
          <pc:docMk/>
          <pc:sldMk cId="831295496" sldId="438"/>
        </pc:sldMkLst>
        <pc:spChg chg="mod">
          <ac:chgData name="Matthias Scholer" userId="daad25a6-aca0-4d73-8528-03a468fe8ab9" providerId="ADAL" clId="{7D6CC86C-24F2-429D-A8D3-8BE9DF00DC96}" dt="2024-01-25T09:08:26.216" v="1165" actId="20577"/>
          <ac:spMkLst>
            <pc:docMk/>
            <pc:sldMk cId="831295496" sldId="438"/>
            <ac:spMk id="2" creationId="{00000000-0000-0000-0000-000000000000}"/>
          </ac:spMkLst>
        </pc:spChg>
        <pc:spChg chg="add mod">
          <ac:chgData name="Matthias Scholer" userId="daad25a6-aca0-4d73-8528-03a468fe8ab9" providerId="ADAL" clId="{7D6CC86C-24F2-429D-A8D3-8BE9DF00DC96}" dt="2024-01-25T09:08:35.498" v="1169" actId="14100"/>
          <ac:spMkLst>
            <pc:docMk/>
            <pc:sldMk cId="831295496" sldId="438"/>
            <ac:spMk id="4" creationId="{BAA74BDB-19C9-FDCC-A832-71D3540E2E44}"/>
          </ac:spMkLst>
        </pc:spChg>
        <pc:spChg chg="del">
          <ac:chgData name="Matthias Scholer" userId="daad25a6-aca0-4d73-8528-03a468fe8ab9" providerId="ADAL" clId="{7D6CC86C-24F2-429D-A8D3-8BE9DF00DC96}" dt="2024-01-25T09:08:30.598" v="1168" actId="478"/>
          <ac:spMkLst>
            <pc:docMk/>
            <pc:sldMk cId="831295496" sldId="438"/>
            <ac:spMk id="11" creationId="{00000000-0000-0000-0000-000000000000}"/>
          </ac:spMkLst>
        </pc:spChg>
        <pc:spChg chg="del">
          <ac:chgData name="Matthias Scholer" userId="daad25a6-aca0-4d73-8528-03a468fe8ab9" providerId="ADAL" clId="{7D6CC86C-24F2-429D-A8D3-8BE9DF00DC96}" dt="2024-01-25T09:07:50.693" v="1150" actId="478"/>
          <ac:spMkLst>
            <pc:docMk/>
            <pc:sldMk cId="831295496" sldId="438"/>
            <ac:spMk id="12" creationId="{00000000-0000-0000-0000-000000000000}"/>
          </ac:spMkLst>
        </pc:spChg>
        <pc:spChg chg="mod">
          <ac:chgData name="Matthias Scholer" userId="daad25a6-aca0-4d73-8528-03a468fe8ab9" providerId="ADAL" clId="{7D6CC86C-24F2-429D-A8D3-8BE9DF00DC96}" dt="2024-01-25T09:01:23.772" v="975" actId="14100"/>
          <ac:spMkLst>
            <pc:docMk/>
            <pc:sldMk cId="831295496" sldId="438"/>
            <ac:spMk id="13" creationId="{00000000-0000-0000-0000-000000000000}"/>
          </ac:spMkLst>
        </pc:spChg>
        <pc:spChg chg="del">
          <ac:chgData name="Matthias Scholer" userId="daad25a6-aca0-4d73-8528-03a468fe8ab9" providerId="ADAL" clId="{7D6CC86C-24F2-429D-A8D3-8BE9DF00DC96}" dt="2024-01-25T09:08:28.740" v="1167" actId="478"/>
          <ac:spMkLst>
            <pc:docMk/>
            <pc:sldMk cId="831295496" sldId="438"/>
            <ac:spMk id="16" creationId="{00000000-0000-0000-0000-000000000000}"/>
          </ac:spMkLst>
        </pc:spChg>
        <pc:spChg chg="mod">
          <ac:chgData name="Matthias Scholer" userId="daad25a6-aca0-4d73-8528-03a468fe8ab9" providerId="ADAL" clId="{7D6CC86C-24F2-429D-A8D3-8BE9DF00DC96}" dt="2024-01-23T14:08:56.876" v="935" actId="1076"/>
          <ac:spMkLst>
            <pc:docMk/>
            <pc:sldMk cId="831295496" sldId="438"/>
            <ac:spMk id="18" creationId="{00000000-0000-0000-0000-000000000000}"/>
          </ac:spMkLst>
        </pc:spChg>
        <pc:picChg chg="del">
          <ac:chgData name="Matthias Scholer" userId="daad25a6-aca0-4d73-8528-03a468fe8ab9" providerId="ADAL" clId="{7D6CC86C-24F2-429D-A8D3-8BE9DF00DC96}" dt="2024-01-25T09:08:27.285" v="1166" actId="478"/>
          <ac:picMkLst>
            <pc:docMk/>
            <pc:sldMk cId="831295496" sldId="438"/>
            <ac:picMk id="14" creationId="{00000000-0000-0000-0000-000000000000}"/>
          </ac:picMkLst>
        </pc:picChg>
      </pc:sldChg>
      <pc:sldChg chg="modSp mod">
        <pc:chgData name="Matthias Scholer" userId="daad25a6-aca0-4d73-8528-03a468fe8ab9" providerId="ADAL" clId="{7D6CC86C-24F2-429D-A8D3-8BE9DF00DC96}" dt="2024-01-23T13:53:02.079" v="684" actId="1076"/>
        <pc:sldMkLst>
          <pc:docMk/>
          <pc:sldMk cId="2457845669" sldId="446"/>
        </pc:sldMkLst>
        <pc:spChg chg="mod">
          <ac:chgData name="Matthias Scholer" userId="daad25a6-aca0-4d73-8528-03a468fe8ab9" providerId="ADAL" clId="{7D6CC86C-24F2-429D-A8D3-8BE9DF00DC96}" dt="2024-01-23T13:52:58.457" v="683" actId="1076"/>
          <ac:spMkLst>
            <pc:docMk/>
            <pc:sldMk cId="2457845669" sldId="446"/>
            <ac:spMk id="3" creationId="{00000000-0000-0000-0000-000000000000}"/>
          </ac:spMkLst>
        </pc:spChg>
        <pc:spChg chg="mod">
          <ac:chgData name="Matthias Scholer" userId="daad25a6-aca0-4d73-8528-03a468fe8ab9" providerId="ADAL" clId="{7D6CC86C-24F2-429D-A8D3-8BE9DF00DC96}" dt="2024-01-23T13:53:02.079" v="684" actId="1076"/>
          <ac:spMkLst>
            <pc:docMk/>
            <pc:sldMk cId="2457845669" sldId="446"/>
            <ac:spMk id="8" creationId="{00000000-0000-0000-0000-000000000000}"/>
          </ac:spMkLst>
        </pc:spChg>
        <pc:spChg chg="mod">
          <ac:chgData name="Matthias Scholer" userId="daad25a6-aca0-4d73-8528-03a468fe8ab9" providerId="ADAL" clId="{7D6CC86C-24F2-429D-A8D3-8BE9DF00DC96}" dt="2024-01-23T13:53:02.079" v="684" actId="1076"/>
          <ac:spMkLst>
            <pc:docMk/>
            <pc:sldMk cId="2457845669" sldId="446"/>
            <ac:spMk id="9" creationId="{00000000-0000-0000-0000-000000000000}"/>
          </ac:spMkLst>
        </pc:spChg>
        <pc:spChg chg="mod">
          <ac:chgData name="Matthias Scholer" userId="daad25a6-aca0-4d73-8528-03a468fe8ab9" providerId="ADAL" clId="{7D6CC86C-24F2-429D-A8D3-8BE9DF00DC96}" dt="2024-01-23T13:53:02.079" v="684" actId="1076"/>
          <ac:spMkLst>
            <pc:docMk/>
            <pc:sldMk cId="2457845669" sldId="446"/>
            <ac:spMk id="10" creationId="{00000000-0000-0000-0000-000000000000}"/>
          </ac:spMkLst>
        </pc:spChg>
        <pc:spChg chg="mod">
          <ac:chgData name="Matthias Scholer" userId="daad25a6-aca0-4d73-8528-03a468fe8ab9" providerId="ADAL" clId="{7D6CC86C-24F2-429D-A8D3-8BE9DF00DC96}" dt="2024-01-23T13:53:02.079" v="684" actId="1076"/>
          <ac:spMkLst>
            <pc:docMk/>
            <pc:sldMk cId="2457845669" sldId="446"/>
            <ac:spMk id="11" creationId="{00000000-0000-0000-0000-000000000000}"/>
          </ac:spMkLst>
        </pc:spChg>
        <pc:spChg chg="mod">
          <ac:chgData name="Matthias Scholer" userId="daad25a6-aca0-4d73-8528-03a468fe8ab9" providerId="ADAL" clId="{7D6CC86C-24F2-429D-A8D3-8BE9DF00DC96}" dt="2024-01-23T13:53:02.079" v="684" actId="1076"/>
          <ac:spMkLst>
            <pc:docMk/>
            <pc:sldMk cId="2457845669" sldId="446"/>
            <ac:spMk id="12" creationId="{00000000-0000-0000-0000-000000000000}"/>
          </ac:spMkLst>
        </pc:spChg>
        <pc:spChg chg="mod">
          <ac:chgData name="Matthias Scholer" userId="daad25a6-aca0-4d73-8528-03a468fe8ab9" providerId="ADAL" clId="{7D6CC86C-24F2-429D-A8D3-8BE9DF00DC96}" dt="2024-01-23T13:53:02.079" v="684" actId="1076"/>
          <ac:spMkLst>
            <pc:docMk/>
            <pc:sldMk cId="2457845669" sldId="446"/>
            <ac:spMk id="20" creationId="{00000000-0000-0000-0000-000000000000}"/>
          </ac:spMkLst>
        </pc:spChg>
        <pc:grpChg chg="mod">
          <ac:chgData name="Matthias Scholer" userId="daad25a6-aca0-4d73-8528-03a468fe8ab9" providerId="ADAL" clId="{7D6CC86C-24F2-429D-A8D3-8BE9DF00DC96}" dt="2024-01-23T13:53:02.079" v="684" actId="1076"/>
          <ac:grpSpMkLst>
            <pc:docMk/>
            <pc:sldMk cId="2457845669" sldId="446"/>
            <ac:grpSpMk id="6" creationId="{00000000-0000-0000-0000-000000000000}"/>
          </ac:grpSpMkLst>
        </pc:grpChg>
        <pc:picChg chg="mod">
          <ac:chgData name="Matthias Scholer" userId="daad25a6-aca0-4d73-8528-03a468fe8ab9" providerId="ADAL" clId="{7D6CC86C-24F2-429D-A8D3-8BE9DF00DC96}" dt="2024-01-23T13:53:02.079" v="684" actId="1076"/>
          <ac:picMkLst>
            <pc:docMk/>
            <pc:sldMk cId="2457845669" sldId="446"/>
            <ac:picMk id="16" creationId="{00000000-0000-0000-0000-000000000000}"/>
          </ac:picMkLst>
        </pc:picChg>
        <pc:picChg chg="mod">
          <ac:chgData name="Matthias Scholer" userId="daad25a6-aca0-4d73-8528-03a468fe8ab9" providerId="ADAL" clId="{7D6CC86C-24F2-429D-A8D3-8BE9DF00DC96}" dt="2024-01-23T13:53:02.079" v="684" actId="1076"/>
          <ac:picMkLst>
            <pc:docMk/>
            <pc:sldMk cId="2457845669" sldId="446"/>
            <ac:picMk id="17" creationId="{00000000-0000-0000-0000-000000000000}"/>
          </ac:picMkLst>
        </pc:picChg>
        <pc:picChg chg="mod">
          <ac:chgData name="Matthias Scholer" userId="daad25a6-aca0-4d73-8528-03a468fe8ab9" providerId="ADAL" clId="{7D6CC86C-24F2-429D-A8D3-8BE9DF00DC96}" dt="2024-01-23T13:53:02.079" v="684" actId="1076"/>
          <ac:picMkLst>
            <pc:docMk/>
            <pc:sldMk cId="2457845669" sldId="446"/>
            <ac:picMk id="18" creationId="{00000000-0000-0000-0000-000000000000}"/>
          </ac:picMkLst>
        </pc:picChg>
        <pc:picChg chg="mod">
          <ac:chgData name="Matthias Scholer" userId="daad25a6-aca0-4d73-8528-03a468fe8ab9" providerId="ADAL" clId="{7D6CC86C-24F2-429D-A8D3-8BE9DF00DC96}" dt="2024-01-23T13:53:02.079" v="684" actId="1076"/>
          <ac:picMkLst>
            <pc:docMk/>
            <pc:sldMk cId="2457845669" sldId="446"/>
            <ac:picMk id="19" creationId="{00000000-0000-0000-0000-000000000000}"/>
          </ac:picMkLst>
        </pc:picChg>
        <pc:cxnChg chg="mod">
          <ac:chgData name="Matthias Scholer" userId="daad25a6-aca0-4d73-8528-03a468fe8ab9" providerId="ADAL" clId="{7D6CC86C-24F2-429D-A8D3-8BE9DF00DC96}" dt="2024-01-23T13:53:02.079" v="684" actId="1076"/>
          <ac:cxnSpMkLst>
            <pc:docMk/>
            <pc:sldMk cId="2457845669" sldId="446"/>
            <ac:cxnSpMk id="7" creationId="{00000000-0000-0000-0000-000000000000}"/>
          </ac:cxnSpMkLst>
        </pc:cxnChg>
        <pc:cxnChg chg="mod">
          <ac:chgData name="Matthias Scholer" userId="daad25a6-aca0-4d73-8528-03a468fe8ab9" providerId="ADAL" clId="{7D6CC86C-24F2-429D-A8D3-8BE9DF00DC96}" dt="2024-01-23T13:53:02.079" v="684" actId="1076"/>
          <ac:cxnSpMkLst>
            <pc:docMk/>
            <pc:sldMk cId="2457845669" sldId="446"/>
            <ac:cxnSpMk id="13" creationId="{00000000-0000-0000-0000-000000000000}"/>
          </ac:cxnSpMkLst>
        </pc:cxnChg>
        <pc:cxnChg chg="mod">
          <ac:chgData name="Matthias Scholer" userId="daad25a6-aca0-4d73-8528-03a468fe8ab9" providerId="ADAL" clId="{7D6CC86C-24F2-429D-A8D3-8BE9DF00DC96}" dt="2024-01-23T13:53:02.079" v="684" actId="1076"/>
          <ac:cxnSpMkLst>
            <pc:docMk/>
            <pc:sldMk cId="2457845669" sldId="446"/>
            <ac:cxnSpMk id="14" creationId="{00000000-0000-0000-0000-000000000000}"/>
          </ac:cxnSpMkLst>
        </pc:cxnChg>
        <pc:cxnChg chg="mod">
          <ac:chgData name="Matthias Scholer" userId="daad25a6-aca0-4d73-8528-03a468fe8ab9" providerId="ADAL" clId="{7D6CC86C-24F2-429D-A8D3-8BE9DF00DC96}" dt="2024-01-23T13:53:02.079" v="684" actId="1076"/>
          <ac:cxnSpMkLst>
            <pc:docMk/>
            <pc:sldMk cId="2457845669" sldId="446"/>
            <ac:cxnSpMk id="15" creationId="{00000000-0000-0000-0000-000000000000}"/>
          </ac:cxnSpMkLst>
        </pc:cxnChg>
      </pc:sldChg>
      <pc:sldChg chg="addSp delSp modSp del mod">
        <pc:chgData name="Matthias Scholer" userId="daad25a6-aca0-4d73-8528-03a468fe8ab9" providerId="ADAL" clId="{7D6CC86C-24F2-429D-A8D3-8BE9DF00DC96}" dt="2024-01-23T14:02:08.546" v="808" actId="47"/>
        <pc:sldMkLst>
          <pc:docMk/>
          <pc:sldMk cId="1285869582" sldId="521"/>
        </pc:sldMkLst>
        <pc:spChg chg="add del mod">
          <ac:chgData name="Matthias Scholer" userId="daad25a6-aca0-4d73-8528-03a468fe8ab9" providerId="ADAL" clId="{7D6CC86C-24F2-429D-A8D3-8BE9DF00DC96}" dt="2024-01-23T14:02:05.101" v="806" actId="21"/>
          <ac:spMkLst>
            <pc:docMk/>
            <pc:sldMk cId="1285869582" sldId="521"/>
            <ac:spMk id="4" creationId="{00000000-0000-0000-0000-000000000000}"/>
          </ac:spMkLst>
        </pc:spChg>
        <pc:spChg chg="add del mod">
          <ac:chgData name="Matthias Scholer" userId="daad25a6-aca0-4d73-8528-03a468fe8ab9" providerId="ADAL" clId="{7D6CC86C-24F2-429D-A8D3-8BE9DF00DC96}" dt="2024-01-23T14:02:05.101" v="806" actId="21"/>
          <ac:spMkLst>
            <pc:docMk/>
            <pc:sldMk cId="1285869582" sldId="521"/>
            <ac:spMk id="5" creationId="{00000000-0000-0000-0000-000000000000}"/>
          </ac:spMkLst>
        </pc:spChg>
        <pc:spChg chg="add del mod">
          <ac:chgData name="Matthias Scholer" userId="daad25a6-aca0-4d73-8528-03a468fe8ab9" providerId="ADAL" clId="{7D6CC86C-24F2-429D-A8D3-8BE9DF00DC96}" dt="2024-01-23T14:02:05.101" v="806" actId="21"/>
          <ac:spMkLst>
            <pc:docMk/>
            <pc:sldMk cId="1285869582" sldId="521"/>
            <ac:spMk id="6" creationId="{00000000-0000-0000-0000-000000000000}"/>
          </ac:spMkLst>
        </pc:spChg>
        <pc:spChg chg="add del mod">
          <ac:chgData name="Matthias Scholer" userId="daad25a6-aca0-4d73-8528-03a468fe8ab9" providerId="ADAL" clId="{7D6CC86C-24F2-429D-A8D3-8BE9DF00DC96}" dt="2024-01-23T14:02:05.101" v="806" actId="21"/>
          <ac:spMkLst>
            <pc:docMk/>
            <pc:sldMk cId="1285869582" sldId="521"/>
            <ac:spMk id="9" creationId="{00000000-0000-0000-0000-000000000000}"/>
          </ac:spMkLst>
        </pc:spChg>
        <pc:spChg chg="del mod">
          <ac:chgData name="Matthias Scholer" userId="daad25a6-aca0-4d73-8528-03a468fe8ab9" providerId="ADAL" clId="{7D6CC86C-24F2-429D-A8D3-8BE9DF00DC96}" dt="2024-01-23T14:02:05.101" v="806" actId="21"/>
          <ac:spMkLst>
            <pc:docMk/>
            <pc:sldMk cId="1285869582" sldId="521"/>
            <ac:spMk id="11" creationId="{00000000-0000-0000-0000-000000000000}"/>
          </ac:spMkLst>
        </pc:spChg>
        <pc:picChg chg="add del mod">
          <ac:chgData name="Matthias Scholer" userId="daad25a6-aca0-4d73-8528-03a468fe8ab9" providerId="ADAL" clId="{7D6CC86C-24F2-429D-A8D3-8BE9DF00DC96}" dt="2024-01-23T14:02:05.101" v="806" actId="21"/>
          <ac:picMkLst>
            <pc:docMk/>
            <pc:sldMk cId="1285869582" sldId="521"/>
            <ac:picMk id="7" creationId="{00000000-0000-0000-0000-000000000000}"/>
          </ac:picMkLst>
        </pc:picChg>
        <pc:picChg chg="add del mod">
          <ac:chgData name="Matthias Scholer" userId="daad25a6-aca0-4d73-8528-03a468fe8ab9" providerId="ADAL" clId="{7D6CC86C-24F2-429D-A8D3-8BE9DF00DC96}" dt="2024-01-23T14:02:05.101" v="806" actId="21"/>
          <ac:picMkLst>
            <pc:docMk/>
            <pc:sldMk cId="1285869582" sldId="521"/>
            <ac:picMk id="8" creationId="{00000000-0000-0000-0000-000000000000}"/>
          </ac:picMkLst>
        </pc:picChg>
      </pc:sldChg>
      <pc:sldChg chg="add del">
        <pc:chgData name="Matthias Scholer" userId="daad25a6-aca0-4d73-8528-03a468fe8ab9" providerId="ADAL" clId="{7D6CC86C-24F2-429D-A8D3-8BE9DF00DC96}" dt="2024-01-19T08:50:14.770" v="1" actId="47"/>
        <pc:sldMkLst>
          <pc:docMk/>
          <pc:sldMk cId="3387473984" sldId="560"/>
        </pc:sldMkLst>
      </pc:sldChg>
      <pc:sldChg chg="modSp mod modShow">
        <pc:chgData name="Matthias Scholer" userId="daad25a6-aca0-4d73-8528-03a468fe8ab9" providerId="ADAL" clId="{7D6CC86C-24F2-429D-A8D3-8BE9DF00DC96}" dt="2024-01-25T09:14:18.068" v="1330" actId="1076"/>
        <pc:sldMkLst>
          <pc:docMk/>
          <pc:sldMk cId="2044903568" sldId="679"/>
        </pc:sldMkLst>
        <pc:spChg chg="mod">
          <ac:chgData name="Matthias Scholer" userId="daad25a6-aca0-4d73-8528-03a468fe8ab9" providerId="ADAL" clId="{7D6CC86C-24F2-429D-A8D3-8BE9DF00DC96}" dt="2024-01-25T09:14:18.068" v="1330" actId="1076"/>
          <ac:spMkLst>
            <pc:docMk/>
            <pc:sldMk cId="2044903568" sldId="679"/>
            <ac:spMk id="2"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7"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8"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9"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10"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11"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13"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17"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18"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19"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20"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21" creationId="{00000000-0000-0000-0000-000000000000}"/>
          </ac:spMkLst>
        </pc:spChg>
        <pc:spChg chg="mod">
          <ac:chgData name="Matthias Scholer" userId="daad25a6-aca0-4d73-8528-03a468fe8ab9" providerId="ADAL" clId="{7D6CC86C-24F2-429D-A8D3-8BE9DF00DC96}" dt="2024-01-25T09:14:14.886" v="1329" actId="1036"/>
          <ac:spMkLst>
            <pc:docMk/>
            <pc:sldMk cId="2044903568" sldId="679"/>
            <ac:spMk id="27" creationId="{00000000-0000-0000-0000-000000000000}"/>
          </ac:spMkLst>
        </pc:spChg>
        <pc:picChg chg="mod">
          <ac:chgData name="Matthias Scholer" userId="daad25a6-aca0-4d73-8528-03a468fe8ab9" providerId="ADAL" clId="{7D6CC86C-24F2-429D-A8D3-8BE9DF00DC96}" dt="2024-01-25T09:14:14.886" v="1329" actId="1036"/>
          <ac:picMkLst>
            <pc:docMk/>
            <pc:sldMk cId="2044903568" sldId="679"/>
            <ac:picMk id="4" creationId="{00000000-0000-0000-0000-000000000000}"/>
          </ac:picMkLst>
        </pc:picChg>
        <pc:picChg chg="mod">
          <ac:chgData name="Matthias Scholer" userId="daad25a6-aca0-4d73-8528-03a468fe8ab9" providerId="ADAL" clId="{7D6CC86C-24F2-429D-A8D3-8BE9DF00DC96}" dt="2024-01-25T09:14:14.886" v="1329" actId="1036"/>
          <ac:picMkLst>
            <pc:docMk/>
            <pc:sldMk cId="2044903568" sldId="679"/>
            <ac:picMk id="6" creationId="{00000000-0000-0000-0000-000000000000}"/>
          </ac:picMkLst>
        </pc:picChg>
        <pc:picChg chg="mod">
          <ac:chgData name="Matthias Scholer" userId="daad25a6-aca0-4d73-8528-03a468fe8ab9" providerId="ADAL" clId="{7D6CC86C-24F2-429D-A8D3-8BE9DF00DC96}" dt="2024-01-25T09:14:14.886" v="1329" actId="1036"/>
          <ac:picMkLst>
            <pc:docMk/>
            <pc:sldMk cId="2044903568" sldId="679"/>
            <ac:picMk id="12" creationId="{00000000-0000-0000-0000-000000000000}"/>
          </ac:picMkLst>
        </pc:picChg>
        <pc:picChg chg="mod">
          <ac:chgData name="Matthias Scholer" userId="daad25a6-aca0-4d73-8528-03a468fe8ab9" providerId="ADAL" clId="{7D6CC86C-24F2-429D-A8D3-8BE9DF00DC96}" dt="2024-01-25T09:14:14.886" v="1329" actId="1036"/>
          <ac:picMkLst>
            <pc:docMk/>
            <pc:sldMk cId="2044903568" sldId="679"/>
            <ac:picMk id="26" creationId="{00000000-0000-0000-0000-000000000000}"/>
          </ac:picMkLst>
        </pc:picChg>
        <pc:picChg chg="mod">
          <ac:chgData name="Matthias Scholer" userId="daad25a6-aca0-4d73-8528-03a468fe8ab9" providerId="ADAL" clId="{7D6CC86C-24F2-429D-A8D3-8BE9DF00DC96}" dt="2024-01-25T09:14:14.886" v="1329" actId="1036"/>
          <ac:picMkLst>
            <pc:docMk/>
            <pc:sldMk cId="2044903568" sldId="679"/>
            <ac:picMk id="29700" creationId="{00000000-0000-0000-0000-000000000000}"/>
          </ac:picMkLst>
        </pc:picChg>
        <pc:picChg chg="mod">
          <ac:chgData name="Matthias Scholer" userId="daad25a6-aca0-4d73-8528-03a468fe8ab9" providerId="ADAL" clId="{7D6CC86C-24F2-429D-A8D3-8BE9DF00DC96}" dt="2024-01-25T09:14:14.886" v="1329" actId="1036"/>
          <ac:picMkLst>
            <pc:docMk/>
            <pc:sldMk cId="2044903568" sldId="679"/>
            <ac:picMk id="29702" creationId="{00000000-0000-0000-0000-000000000000}"/>
          </ac:picMkLst>
        </pc:picChg>
        <pc:picChg chg="mod">
          <ac:chgData name="Matthias Scholer" userId="daad25a6-aca0-4d73-8528-03a468fe8ab9" providerId="ADAL" clId="{7D6CC86C-24F2-429D-A8D3-8BE9DF00DC96}" dt="2024-01-25T09:14:14.886" v="1329" actId="1036"/>
          <ac:picMkLst>
            <pc:docMk/>
            <pc:sldMk cId="2044903568" sldId="679"/>
            <ac:picMk id="29704" creationId="{00000000-0000-0000-0000-000000000000}"/>
          </ac:picMkLst>
        </pc:picChg>
      </pc:sldChg>
      <pc:sldChg chg="delSp del mod">
        <pc:chgData name="Matthias Scholer" userId="daad25a6-aca0-4d73-8528-03a468fe8ab9" providerId="ADAL" clId="{7D6CC86C-24F2-429D-A8D3-8BE9DF00DC96}" dt="2024-01-23T14:07:24.375" v="912" actId="47"/>
        <pc:sldMkLst>
          <pc:docMk/>
          <pc:sldMk cId="3795108637" sldId="683"/>
        </pc:sldMkLst>
        <pc:picChg chg="del">
          <ac:chgData name="Matthias Scholer" userId="daad25a6-aca0-4d73-8528-03a468fe8ab9" providerId="ADAL" clId="{7D6CC86C-24F2-429D-A8D3-8BE9DF00DC96}" dt="2024-01-23T14:06:49.388" v="896" actId="21"/>
          <ac:picMkLst>
            <pc:docMk/>
            <pc:sldMk cId="3795108637" sldId="683"/>
            <ac:picMk id="8" creationId="{B0E2DC5F-50B1-4261-A797-350CCFE63C7E}"/>
          </ac:picMkLst>
        </pc:picChg>
        <pc:picChg chg="del">
          <ac:chgData name="Matthias Scholer" userId="daad25a6-aca0-4d73-8528-03a468fe8ab9" providerId="ADAL" clId="{7D6CC86C-24F2-429D-A8D3-8BE9DF00DC96}" dt="2024-01-23T14:06:49.388" v="896" actId="21"/>
          <ac:picMkLst>
            <pc:docMk/>
            <pc:sldMk cId="3795108637" sldId="683"/>
            <ac:picMk id="10" creationId="{2EF33B8C-2D60-4711-AB5C-160B7A5A8CF6}"/>
          </ac:picMkLst>
        </pc:picChg>
        <pc:picChg chg="del">
          <ac:chgData name="Matthias Scholer" userId="daad25a6-aca0-4d73-8528-03a468fe8ab9" providerId="ADAL" clId="{7D6CC86C-24F2-429D-A8D3-8BE9DF00DC96}" dt="2024-01-23T14:06:49.388" v="896" actId="21"/>
          <ac:picMkLst>
            <pc:docMk/>
            <pc:sldMk cId="3795108637" sldId="683"/>
            <ac:picMk id="12" creationId="{1868CE42-BD7E-4628-96E0-DCDE3A662692}"/>
          </ac:picMkLst>
        </pc:picChg>
      </pc:sldChg>
      <pc:sldChg chg="modSp add del mod modNotesTx">
        <pc:chgData name="Matthias Scholer" userId="daad25a6-aca0-4d73-8528-03a468fe8ab9" providerId="ADAL" clId="{7D6CC86C-24F2-429D-A8D3-8BE9DF00DC96}" dt="2024-01-23T10:08:02.593" v="134" actId="47"/>
        <pc:sldMkLst>
          <pc:docMk/>
          <pc:sldMk cId="1894509937" sldId="686"/>
        </pc:sldMkLst>
        <pc:spChg chg="mod">
          <ac:chgData name="Matthias Scholer" userId="daad25a6-aca0-4d73-8528-03a468fe8ab9" providerId="ADAL" clId="{7D6CC86C-24F2-429D-A8D3-8BE9DF00DC96}" dt="2024-01-23T09:50:53.808" v="38" actId="20577"/>
          <ac:spMkLst>
            <pc:docMk/>
            <pc:sldMk cId="1894509937" sldId="686"/>
            <ac:spMk id="2" creationId="{2C39D97A-17A0-FD9D-5EA0-F1B4F3C433E8}"/>
          </ac:spMkLst>
        </pc:spChg>
        <pc:spChg chg="mod">
          <ac:chgData name="Matthias Scholer" userId="daad25a6-aca0-4d73-8528-03a468fe8ab9" providerId="ADAL" clId="{7D6CC86C-24F2-429D-A8D3-8BE9DF00DC96}" dt="2024-01-23T10:05:39.775" v="82" actId="20577"/>
          <ac:spMkLst>
            <pc:docMk/>
            <pc:sldMk cId="1894509937" sldId="686"/>
            <ac:spMk id="3" creationId="{C23B6904-F8F0-845A-FB08-65B3D5AD1A10}"/>
          </ac:spMkLst>
        </pc:spChg>
      </pc:sldChg>
      <pc:sldChg chg="modSp mod modNotesTx">
        <pc:chgData name="Matthias Scholer" userId="daad25a6-aca0-4d73-8528-03a468fe8ab9" providerId="ADAL" clId="{7D6CC86C-24F2-429D-A8D3-8BE9DF00DC96}" dt="2024-01-23T10:11:50.713" v="201" actId="1076"/>
        <pc:sldMkLst>
          <pc:docMk/>
          <pc:sldMk cId="3635348943" sldId="687"/>
        </pc:sldMkLst>
        <pc:spChg chg="mod">
          <ac:chgData name="Matthias Scholer" userId="daad25a6-aca0-4d73-8528-03a468fe8ab9" providerId="ADAL" clId="{7D6CC86C-24F2-429D-A8D3-8BE9DF00DC96}" dt="2024-01-23T10:11:50.713" v="201" actId="1076"/>
          <ac:spMkLst>
            <pc:docMk/>
            <pc:sldMk cId="3635348943" sldId="687"/>
            <ac:spMk id="2" creationId="{93237F25-D98A-8CD8-5448-9BE9F9CB22F9}"/>
          </ac:spMkLst>
        </pc:spChg>
      </pc:sldChg>
      <pc:sldChg chg="modSp mod">
        <pc:chgData name="Matthias Scholer" userId="daad25a6-aca0-4d73-8528-03a468fe8ab9" providerId="ADAL" clId="{7D6CC86C-24F2-429D-A8D3-8BE9DF00DC96}" dt="2024-01-23T10:13:19.230" v="219" actId="20577"/>
        <pc:sldMkLst>
          <pc:docMk/>
          <pc:sldMk cId="2511637383" sldId="688"/>
        </pc:sldMkLst>
        <pc:spChg chg="mod">
          <ac:chgData name="Matthias Scholer" userId="daad25a6-aca0-4d73-8528-03a468fe8ab9" providerId="ADAL" clId="{7D6CC86C-24F2-429D-A8D3-8BE9DF00DC96}" dt="2024-01-23T10:13:19.230" v="219" actId="20577"/>
          <ac:spMkLst>
            <pc:docMk/>
            <pc:sldMk cId="2511637383" sldId="688"/>
            <ac:spMk id="2" creationId="{4F3E25F7-D9E7-98B6-E215-CBF62A0650A2}"/>
          </ac:spMkLst>
        </pc:spChg>
      </pc:sldChg>
      <pc:sldChg chg="modSp mod">
        <pc:chgData name="Matthias Scholer" userId="daad25a6-aca0-4d73-8528-03a468fe8ab9" providerId="ADAL" clId="{7D6CC86C-24F2-429D-A8D3-8BE9DF00DC96}" dt="2024-01-23T10:17:15.947" v="330" actId="1076"/>
        <pc:sldMkLst>
          <pc:docMk/>
          <pc:sldMk cId="176412560" sldId="689"/>
        </pc:sldMkLst>
        <pc:spChg chg="mod">
          <ac:chgData name="Matthias Scholer" userId="daad25a6-aca0-4d73-8528-03a468fe8ab9" providerId="ADAL" clId="{7D6CC86C-24F2-429D-A8D3-8BE9DF00DC96}" dt="2024-01-23T10:17:15.947" v="330" actId="1076"/>
          <ac:spMkLst>
            <pc:docMk/>
            <pc:sldMk cId="176412560" sldId="689"/>
            <ac:spMk id="2" creationId="{15D64DCA-58D3-7BD3-43EB-071566090D21}"/>
          </ac:spMkLst>
        </pc:spChg>
        <pc:picChg chg="mod">
          <ac:chgData name="Matthias Scholer" userId="daad25a6-aca0-4d73-8528-03a468fe8ab9" providerId="ADAL" clId="{7D6CC86C-24F2-429D-A8D3-8BE9DF00DC96}" dt="2024-01-23T10:17:09.002" v="328" actId="1076"/>
          <ac:picMkLst>
            <pc:docMk/>
            <pc:sldMk cId="176412560" sldId="689"/>
            <ac:picMk id="6" creationId="{A88E3760-2357-8802-F981-887195921A53}"/>
          </ac:picMkLst>
        </pc:picChg>
      </pc:sldChg>
      <pc:sldChg chg="modSp mod">
        <pc:chgData name="Matthias Scholer" userId="daad25a6-aca0-4d73-8528-03a468fe8ab9" providerId="ADAL" clId="{7D6CC86C-24F2-429D-A8D3-8BE9DF00DC96}" dt="2024-01-23T10:19:46.266" v="349" actId="5793"/>
        <pc:sldMkLst>
          <pc:docMk/>
          <pc:sldMk cId="648259259" sldId="691"/>
        </pc:sldMkLst>
        <pc:spChg chg="mod">
          <ac:chgData name="Matthias Scholer" userId="daad25a6-aca0-4d73-8528-03a468fe8ab9" providerId="ADAL" clId="{7D6CC86C-24F2-429D-A8D3-8BE9DF00DC96}" dt="2024-01-23T10:19:46.266" v="349" actId="5793"/>
          <ac:spMkLst>
            <pc:docMk/>
            <pc:sldMk cId="648259259" sldId="691"/>
            <ac:spMk id="2" creationId="{44C4EA80-9543-1BD8-2DC3-B06A30409C0E}"/>
          </ac:spMkLst>
        </pc:spChg>
        <pc:spChg chg="mod">
          <ac:chgData name="Matthias Scholer" userId="daad25a6-aca0-4d73-8528-03a468fe8ab9" providerId="ADAL" clId="{7D6CC86C-24F2-429D-A8D3-8BE9DF00DC96}" dt="2024-01-23T10:18:13.839" v="332" actId="108"/>
          <ac:spMkLst>
            <pc:docMk/>
            <pc:sldMk cId="648259259" sldId="691"/>
            <ac:spMk id="3" creationId="{6EB920F7-5B52-5000-A8C9-9EB348C7F4D5}"/>
          </ac:spMkLst>
        </pc:spChg>
      </pc:sldChg>
      <pc:sldChg chg="modSp mod">
        <pc:chgData name="Matthias Scholer" userId="daad25a6-aca0-4d73-8528-03a468fe8ab9" providerId="ADAL" clId="{7D6CC86C-24F2-429D-A8D3-8BE9DF00DC96}" dt="2024-01-23T10:21:43.775" v="395" actId="14100"/>
        <pc:sldMkLst>
          <pc:docMk/>
          <pc:sldMk cId="1632569237" sldId="692"/>
        </pc:sldMkLst>
        <pc:spChg chg="mod">
          <ac:chgData name="Matthias Scholer" userId="daad25a6-aca0-4d73-8528-03a468fe8ab9" providerId="ADAL" clId="{7D6CC86C-24F2-429D-A8D3-8BE9DF00DC96}" dt="2024-01-23T10:21:39.892" v="394" actId="20577"/>
          <ac:spMkLst>
            <pc:docMk/>
            <pc:sldMk cId="1632569237" sldId="692"/>
            <ac:spMk id="2" creationId="{55C3E36B-75E8-F3FC-DAA5-53D91397D9C0}"/>
          </ac:spMkLst>
        </pc:spChg>
        <pc:picChg chg="mod">
          <ac:chgData name="Matthias Scholer" userId="daad25a6-aca0-4d73-8528-03a468fe8ab9" providerId="ADAL" clId="{7D6CC86C-24F2-429D-A8D3-8BE9DF00DC96}" dt="2024-01-23T10:21:43.775" v="395" actId="14100"/>
          <ac:picMkLst>
            <pc:docMk/>
            <pc:sldMk cId="1632569237" sldId="692"/>
            <ac:picMk id="6" creationId="{11F590CA-7B54-E317-8B68-E719ADCA3313}"/>
          </ac:picMkLst>
        </pc:picChg>
      </pc:sldChg>
      <pc:sldChg chg="modSp mod">
        <pc:chgData name="Matthias Scholer" userId="daad25a6-aca0-4d73-8528-03a468fe8ab9" providerId="ADAL" clId="{7D6CC86C-24F2-429D-A8D3-8BE9DF00DC96}" dt="2024-01-23T10:22:10.820" v="399" actId="1076"/>
        <pc:sldMkLst>
          <pc:docMk/>
          <pc:sldMk cId="771731340" sldId="693"/>
        </pc:sldMkLst>
        <pc:spChg chg="mod">
          <ac:chgData name="Matthias Scholer" userId="daad25a6-aca0-4d73-8528-03a468fe8ab9" providerId="ADAL" clId="{7D6CC86C-24F2-429D-A8D3-8BE9DF00DC96}" dt="2024-01-23T10:22:10.820" v="399" actId="1076"/>
          <ac:spMkLst>
            <pc:docMk/>
            <pc:sldMk cId="771731340" sldId="693"/>
            <ac:spMk id="2" creationId="{1A3FB637-7C19-A17D-5499-A72FBD315846}"/>
          </ac:spMkLst>
        </pc:spChg>
      </pc:sldChg>
      <pc:sldChg chg="delSp modSp mod">
        <pc:chgData name="Matthias Scholer" userId="daad25a6-aca0-4d73-8528-03a468fe8ab9" providerId="ADAL" clId="{7D6CC86C-24F2-429D-A8D3-8BE9DF00DC96}" dt="2024-01-23T10:27:52.637" v="463" actId="1076"/>
        <pc:sldMkLst>
          <pc:docMk/>
          <pc:sldMk cId="643288998" sldId="694"/>
        </pc:sldMkLst>
        <pc:spChg chg="mod">
          <ac:chgData name="Matthias Scholer" userId="daad25a6-aca0-4d73-8528-03a468fe8ab9" providerId="ADAL" clId="{7D6CC86C-24F2-429D-A8D3-8BE9DF00DC96}" dt="2024-01-23T10:26:29.464" v="444"/>
          <ac:spMkLst>
            <pc:docMk/>
            <pc:sldMk cId="643288998" sldId="694"/>
            <ac:spMk id="3" creationId="{88B227D2-592D-8BA3-B6B1-41404810AF7E}"/>
          </ac:spMkLst>
        </pc:spChg>
        <pc:spChg chg="mod">
          <ac:chgData name="Matthias Scholer" userId="daad25a6-aca0-4d73-8528-03a468fe8ab9" providerId="ADAL" clId="{7D6CC86C-24F2-429D-A8D3-8BE9DF00DC96}" dt="2024-01-23T10:27:45.987" v="460" actId="20577"/>
          <ac:spMkLst>
            <pc:docMk/>
            <pc:sldMk cId="643288998" sldId="694"/>
            <ac:spMk id="7" creationId="{37032C3E-2DC1-83AA-862B-8193C62FAC5C}"/>
          </ac:spMkLst>
        </pc:spChg>
        <pc:picChg chg="del mod">
          <ac:chgData name="Matthias Scholer" userId="daad25a6-aca0-4d73-8528-03a468fe8ab9" providerId="ADAL" clId="{7D6CC86C-24F2-429D-A8D3-8BE9DF00DC96}" dt="2024-01-23T10:26:43.983" v="448" actId="21"/>
          <ac:picMkLst>
            <pc:docMk/>
            <pc:sldMk cId="643288998" sldId="694"/>
            <ac:picMk id="9" creationId="{1B7EDCA7-2431-FBF2-77E1-1F0807FD4FFD}"/>
          </ac:picMkLst>
        </pc:picChg>
        <pc:picChg chg="mod">
          <ac:chgData name="Matthias Scholer" userId="daad25a6-aca0-4d73-8528-03a468fe8ab9" providerId="ADAL" clId="{7D6CC86C-24F2-429D-A8D3-8BE9DF00DC96}" dt="2024-01-23T10:27:52.637" v="463" actId="1076"/>
          <ac:picMkLst>
            <pc:docMk/>
            <pc:sldMk cId="643288998" sldId="694"/>
            <ac:picMk id="1026" creationId="{9915A0B1-D407-13DD-999F-2C35FCDE6A27}"/>
          </ac:picMkLst>
        </pc:picChg>
      </pc:sldChg>
      <pc:sldChg chg="modSp mod">
        <pc:chgData name="Matthias Scholer" userId="daad25a6-aca0-4d73-8528-03a468fe8ab9" providerId="ADAL" clId="{7D6CC86C-24F2-429D-A8D3-8BE9DF00DC96}" dt="2024-01-23T10:25:58.879" v="443" actId="20577"/>
        <pc:sldMkLst>
          <pc:docMk/>
          <pc:sldMk cId="187554935" sldId="695"/>
        </pc:sldMkLst>
        <pc:spChg chg="mod ord">
          <ac:chgData name="Matthias Scholer" userId="daad25a6-aca0-4d73-8528-03a468fe8ab9" providerId="ADAL" clId="{7D6CC86C-24F2-429D-A8D3-8BE9DF00DC96}" dt="2024-01-23T10:25:58.879" v="443" actId="20577"/>
          <ac:spMkLst>
            <pc:docMk/>
            <pc:sldMk cId="187554935" sldId="695"/>
            <ac:spMk id="2" creationId="{A6BC22C7-777C-5638-4741-F74E49AD19B3}"/>
          </ac:spMkLst>
        </pc:spChg>
        <pc:spChg chg="mod">
          <ac:chgData name="Matthias Scholer" userId="daad25a6-aca0-4d73-8528-03a468fe8ab9" providerId="ADAL" clId="{7D6CC86C-24F2-429D-A8D3-8BE9DF00DC96}" dt="2024-01-23T10:25:13.069" v="429" actId="20577"/>
          <ac:spMkLst>
            <pc:docMk/>
            <pc:sldMk cId="187554935" sldId="695"/>
            <ac:spMk id="3" creationId="{64773EAF-8FAA-38B6-2498-E61DAD9958AC}"/>
          </ac:spMkLst>
        </pc:spChg>
        <pc:picChg chg="mod modCrop">
          <ac:chgData name="Matthias Scholer" userId="daad25a6-aca0-4d73-8528-03a468fe8ab9" providerId="ADAL" clId="{7D6CC86C-24F2-429D-A8D3-8BE9DF00DC96}" dt="2024-01-23T10:25:51.782" v="439" actId="1076"/>
          <ac:picMkLst>
            <pc:docMk/>
            <pc:sldMk cId="187554935" sldId="695"/>
            <ac:picMk id="7" creationId="{7B127D8E-EA7E-87D9-F959-48E8863DEE04}"/>
          </ac:picMkLst>
        </pc:picChg>
      </pc:sldChg>
      <pc:sldChg chg="addSp modSp mod">
        <pc:chgData name="Matthias Scholer" userId="daad25a6-aca0-4d73-8528-03a468fe8ab9" providerId="ADAL" clId="{7D6CC86C-24F2-429D-A8D3-8BE9DF00DC96}" dt="2024-01-23T10:24:27.780" v="425" actId="14100"/>
        <pc:sldMkLst>
          <pc:docMk/>
          <pc:sldMk cId="1598037602" sldId="696"/>
        </pc:sldMkLst>
        <pc:spChg chg="mod">
          <ac:chgData name="Matthias Scholer" userId="daad25a6-aca0-4d73-8528-03a468fe8ab9" providerId="ADAL" clId="{7D6CC86C-24F2-429D-A8D3-8BE9DF00DC96}" dt="2024-01-23T10:23:15.460" v="410" actId="1076"/>
          <ac:spMkLst>
            <pc:docMk/>
            <pc:sldMk cId="1598037602" sldId="696"/>
            <ac:spMk id="2" creationId="{A04BA0F2-3DAE-59FA-E8F0-CED3AF915B48}"/>
          </ac:spMkLst>
        </pc:spChg>
        <pc:spChg chg="mod">
          <ac:chgData name="Matthias Scholer" userId="daad25a6-aca0-4d73-8528-03a468fe8ab9" providerId="ADAL" clId="{7D6CC86C-24F2-429D-A8D3-8BE9DF00DC96}" dt="2024-01-23T10:23:00.571" v="407" actId="20577"/>
          <ac:spMkLst>
            <pc:docMk/>
            <pc:sldMk cId="1598037602" sldId="696"/>
            <ac:spMk id="3" creationId="{144E83B3-8C24-D887-083A-78BEA01F33F5}"/>
          </ac:spMkLst>
        </pc:spChg>
        <pc:spChg chg="add mod">
          <ac:chgData name="Matthias Scholer" userId="daad25a6-aca0-4d73-8528-03a468fe8ab9" providerId="ADAL" clId="{7D6CC86C-24F2-429D-A8D3-8BE9DF00DC96}" dt="2024-01-23T10:24:00.535" v="419" actId="1582"/>
          <ac:spMkLst>
            <pc:docMk/>
            <pc:sldMk cId="1598037602" sldId="696"/>
            <ac:spMk id="7" creationId="{EE198BE1-0CE8-58D7-07F3-960455923EA1}"/>
          </ac:spMkLst>
        </pc:spChg>
        <pc:spChg chg="add mod">
          <ac:chgData name="Matthias Scholer" userId="daad25a6-aca0-4d73-8528-03a468fe8ab9" providerId="ADAL" clId="{7D6CC86C-24F2-429D-A8D3-8BE9DF00DC96}" dt="2024-01-23T10:24:27.780" v="425" actId="14100"/>
          <ac:spMkLst>
            <pc:docMk/>
            <pc:sldMk cId="1598037602" sldId="696"/>
            <ac:spMk id="8" creationId="{E02846EA-4E03-9AB1-9716-34C448BEDC79}"/>
          </ac:spMkLst>
        </pc:spChg>
        <pc:picChg chg="mod">
          <ac:chgData name="Matthias Scholer" userId="daad25a6-aca0-4d73-8528-03a468fe8ab9" providerId="ADAL" clId="{7D6CC86C-24F2-429D-A8D3-8BE9DF00DC96}" dt="2024-01-23T10:23:29.151" v="411" actId="1076"/>
          <ac:picMkLst>
            <pc:docMk/>
            <pc:sldMk cId="1598037602" sldId="696"/>
            <ac:picMk id="6" creationId="{1D4BE62D-482B-07B2-E1AE-97EF295ED157}"/>
          </ac:picMkLst>
        </pc:picChg>
      </pc:sldChg>
      <pc:sldChg chg="addSp delSp modSp mod">
        <pc:chgData name="Matthias Scholer" userId="daad25a6-aca0-4d73-8528-03a468fe8ab9" providerId="ADAL" clId="{7D6CC86C-24F2-429D-A8D3-8BE9DF00DC96}" dt="2024-01-23T13:42:11.653" v="540" actId="14100"/>
        <pc:sldMkLst>
          <pc:docMk/>
          <pc:sldMk cId="2283720192" sldId="698"/>
        </pc:sldMkLst>
        <pc:spChg chg="mod">
          <ac:chgData name="Matthias Scholer" userId="daad25a6-aca0-4d73-8528-03a468fe8ab9" providerId="ADAL" clId="{7D6CC86C-24F2-429D-A8D3-8BE9DF00DC96}" dt="2024-01-23T13:42:09.060" v="539" actId="14100"/>
          <ac:spMkLst>
            <pc:docMk/>
            <pc:sldMk cId="2283720192" sldId="698"/>
            <ac:spMk id="7" creationId="{D1ACA142-80A6-CAC5-294E-C1506E1CD00F}"/>
          </ac:spMkLst>
        </pc:spChg>
        <pc:picChg chg="mod">
          <ac:chgData name="Matthias Scholer" userId="daad25a6-aca0-4d73-8528-03a468fe8ab9" providerId="ADAL" clId="{7D6CC86C-24F2-429D-A8D3-8BE9DF00DC96}" dt="2024-01-23T13:42:11.653" v="540" actId="14100"/>
          <ac:picMkLst>
            <pc:docMk/>
            <pc:sldMk cId="2283720192" sldId="698"/>
            <ac:picMk id="6" creationId="{A0CE390D-CC8B-1EDE-0B29-1AF349617676}"/>
          </ac:picMkLst>
        </pc:picChg>
        <pc:picChg chg="add del mod">
          <ac:chgData name="Matthias Scholer" userId="daad25a6-aca0-4d73-8528-03a468fe8ab9" providerId="ADAL" clId="{7D6CC86C-24F2-429D-A8D3-8BE9DF00DC96}" dt="2024-01-23T13:40:26.484" v="479" actId="478"/>
          <ac:picMkLst>
            <pc:docMk/>
            <pc:sldMk cId="2283720192" sldId="698"/>
            <ac:picMk id="8" creationId="{150DEB37-DDE5-2B6F-DCDD-96DE8521D2C5}"/>
          </ac:picMkLst>
        </pc:picChg>
      </pc:sldChg>
      <pc:sldChg chg="modSp mod">
        <pc:chgData name="Matthias Scholer" userId="daad25a6-aca0-4d73-8528-03a468fe8ab9" providerId="ADAL" clId="{7D6CC86C-24F2-429D-A8D3-8BE9DF00DC96}" dt="2024-01-23T13:42:33.576" v="542" actId="14100"/>
        <pc:sldMkLst>
          <pc:docMk/>
          <pc:sldMk cId="1877148032" sldId="699"/>
        </pc:sldMkLst>
        <pc:spChg chg="mod">
          <ac:chgData name="Matthias Scholer" userId="daad25a6-aca0-4d73-8528-03a468fe8ab9" providerId="ADAL" clId="{7D6CC86C-24F2-429D-A8D3-8BE9DF00DC96}" dt="2024-01-23T13:42:33.576" v="542" actId="14100"/>
          <ac:spMkLst>
            <pc:docMk/>
            <pc:sldMk cId="1877148032" sldId="699"/>
            <ac:spMk id="2" creationId="{5F59BFE5-BE57-6E66-8535-BA45E08CF79A}"/>
          </ac:spMkLst>
        </pc:spChg>
      </pc:sldChg>
      <pc:sldChg chg="modSp mod">
        <pc:chgData name="Matthias Scholer" userId="daad25a6-aca0-4d73-8528-03a468fe8ab9" providerId="ADAL" clId="{7D6CC86C-24F2-429D-A8D3-8BE9DF00DC96}" dt="2024-01-23T13:44:50.634" v="562" actId="14100"/>
        <pc:sldMkLst>
          <pc:docMk/>
          <pc:sldMk cId="3101254839" sldId="700"/>
        </pc:sldMkLst>
        <pc:spChg chg="mod">
          <ac:chgData name="Matthias Scholer" userId="daad25a6-aca0-4d73-8528-03a468fe8ab9" providerId="ADAL" clId="{7D6CC86C-24F2-429D-A8D3-8BE9DF00DC96}" dt="2024-01-23T13:44:50.634" v="562" actId="14100"/>
          <ac:spMkLst>
            <pc:docMk/>
            <pc:sldMk cId="3101254839" sldId="700"/>
            <ac:spMk id="2" creationId="{E6368700-CF52-3320-5859-BC93A3D933E6}"/>
          </ac:spMkLst>
        </pc:spChg>
      </pc:sldChg>
      <pc:sldChg chg="modSp mod">
        <pc:chgData name="Matthias Scholer" userId="daad25a6-aca0-4d73-8528-03a468fe8ab9" providerId="ADAL" clId="{7D6CC86C-24F2-429D-A8D3-8BE9DF00DC96}" dt="2024-01-23T13:45:22.798" v="568" actId="20577"/>
        <pc:sldMkLst>
          <pc:docMk/>
          <pc:sldMk cId="106265944" sldId="701"/>
        </pc:sldMkLst>
        <pc:spChg chg="mod">
          <ac:chgData name="Matthias Scholer" userId="daad25a6-aca0-4d73-8528-03a468fe8ab9" providerId="ADAL" clId="{7D6CC86C-24F2-429D-A8D3-8BE9DF00DC96}" dt="2024-01-23T13:45:22.798" v="568" actId="20577"/>
          <ac:spMkLst>
            <pc:docMk/>
            <pc:sldMk cId="106265944" sldId="701"/>
            <ac:spMk id="2" creationId="{651455FB-B7F8-626E-E8EA-1C3F3E189DC0}"/>
          </ac:spMkLst>
        </pc:spChg>
      </pc:sldChg>
      <pc:sldChg chg="del">
        <pc:chgData name="Matthias Scholer" userId="daad25a6-aca0-4d73-8528-03a468fe8ab9" providerId="ADAL" clId="{7D6CC86C-24F2-429D-A8D3-8BE9DF00DC96}" dt="2024-01-23T13:42:18.670" v="541" actId="47"/>
        <pc:sldMkLst>
          <pc:docMk/>
          <pc:sldMk cId="4278573435" sldId="702"/>
        </pc:sldMkLst>
      </pc:sldChg>
      <pc:sldChg chg="addSp delSp modSp mod modNotesTx">
        <pc:chgData name="Matthias Scholer" userId="daad25a6-aca0-4d73-8528-03a468fe8ab9" providerId="ADAL" clId="{7D6CC86C-24F2-429D-A8D3-8BE9DF00DC96}" dt="2024-01-23T13:52:20.022" v="649" actId="14100"/>
        <pc:sldMkLst>
          <pc:docMk/>
          <pc:sldMk cId="1060674928" sldId="703"/>
        </pc:sldMkLst>
        <pc:spChg chg="mod">
          <ac:chgData name="Matthias Scholer" userId="daad25a6-aca0-4d73-8528-03a468fe8ab9" providerId="ADAL" clId="{7D6CC86C-24F2-429D-A8D3-8BE9DF00DC96}" dt="2024-01-23T13:52:20.022" v="649" actId="14100"/>
          <ac:spMkLst>
            <pc:docMk/>
            <pc:sldMk cId="1060674928" sldId="703"/>
            <ac:spMk id="2" creationId="{95705966-833C-F70C-6E35-D74067BAF481}"/>
          </ac:spMkLst>
        </pc:spChg>
        <pc:spChg chg="mod">
          <ac:chgData name="Matthias Scholer" userId="daad25a6-aca0-4d73-8528-03a468fe8ab9" providerId="ADAL" clId="{7D6CC86C-24F2-429D-A8D3-8BE9DF00DC96}" dt="2024-01-23T13:49:43.462" v="604" actId="20577"/>
          <ac:spMkLst>
            <pc:docMk/>
            <pc:sldMk cId="1060674928" sldId="703"/>
            <ac:spMk id="3" creationId="{A80FD166-96C2-FBB3-A544-83A1647806B6}"/>
          </ac:spMkLst>
        </pc:spChg>
        <pc:spChg chg="del">
          <ac:chgData name="Matthias Scholer" userId="daad25a6-aca0-4d73-8528-03a468fe8ab9" providerId="ADAL" clId="{7D6CC86C-24F2-429D-A8D3-8BE9DF00DC96}" dt="2024-01-23T13:49:45.382" v="605" actId="478"/>
          <ac:spMkLst>
            <pc:docMk/>
            <pc:sldMk cId="1060674928" sldId="703"/>
            <ac:spMk id="8" creationId="{4DF95503-E614-9888-66DF-7E3385E9D274}"/>
          </ac:spMkLst>
        </pc:spChg>
        <pc:picChg chg="add mod modCrop">
          <ac:chgData name="Matthias Scholer" userId="daad25a6-aca0-4d73-8528-03a468fe8ab9" providerId="ADAL" clId="{7D6CC86C-24F2-429D-A8D3-8BE9DF00DC96}" dt="2024-01-23T13:51:26.624" v="648" actId="1076"/>
          <ac:picMkLst>
            <pc:docMk/>
            <pc:sldMk cId="1060674928" sldId="703"/>
            <ac:picMk id="6" creationId="{42A4849A-FBD0-806F-520C-F9E4634FDDA5}"/>
          </ac:picMkLst>
        </pc:picChg>
        <pc:picChg chg="mod modCrop">
          <ac:chgData name="Matthias Scholer" userId="daad25a6-aca0-4d73-8528-03a468fe8ab9" providerId="ADAL" clId="{7D6CC86C-24F2-429D-A8D3-8BE9DF00DC96}" dt="2024-01-23T13:51:14.900" v="644" actId="1076"/>
          <ac:picMkLst>
            <pc:docMk/>
            <pc:sldMk cId="1060674928" sldId="703"/>
            <ac:picMk id="7" creationId="{9C99B865-0F9B-D000-A39F-F42E9F816060}"/>
          </ac:picMkLst>
        </pc:picChg>
      </pc:sldChg>
      <pc:sldChg chg="modSp new mod">
        <pc:chgData name="Matthias Scholer" userId="daad25a6-aca0-4d73-8528-03a468fe8ab9" providerId="ADAL" clId="{7D6CC86C-24F2-429D-A8D3-8BE9DF00DC96}" dt="2024-01-23T10:20:55.649" v="373" actId="20577"/>
        <pc:sldMkLst>
          <pc:docMk/>
          <pc:sldMk cId="2162695565" sldId="704"/>
        </pc:sldMkLst>
        <pc:spChg chg="mod">
          <ac:chgData name="Matthias Scholer" userId="daad25a6-aca0-4d73-8528-03a468fe8ab9" providerId="ADAL" clId="{7D6CC86C-24F2-429D-A8D3-8BE9DF00DC96}" dt="2024-01-23T10:20:53.098" v="372" actId="1076"/>
          <ac:spMkLst>
            <pc:docMk/>
            <pc:sldMk cId="2162695565" sldId="704"/>
            <ac:spMk id="2" creationId="{66598D84-E809-4E35-B649-FB487BBC1A3E}"/>
          </ac:spMkLst>
        </pc:spChg>
        <pc:spChg chg="mod">
          <ac:chgData name="Matthias Scholer" userId="daad25a6-aca0-4d73-8528-03a468fe8ab9" providerId="ADAL" clId="{7D6CC86C-24F2-429D-A8D3-8BE9DF00DC96}" dt="2024-01-23T10:20:55.649" v="373" actId="20577"/>
          <ac:spMkLst>
            <pc:docMk/>
            <pc:sldMk cId="2162695565" sldId="704"/>
            <ac:spMk id="3" creationId="{BBCFB593-6637-DBD9-77C8-04AE1E18C2CB}"/>
          </ac:spMkLst>
        </pc:spChg>
        <pc:spChg chg="mod">
          <ac:chgData name="Matthias Scholer" userId="daad25a6-aca0-4d73-8528-03a468fe8ab9" providerId="ADAL" clId="{7D6CC86C-24F2-429D-A8D3-8BE9DF00DC96}" dt="2024-01-23T10:20:00.824" v="357" actId="1076"/>
          <ac:spMkLst>
            <pc:docMk/>
            <pc:sldMk cId="2162695565" sldId="704"/>
            <ac:spMk id="4" creationId="{53474FEF-374B-7B26-0672-2AA639925CA5}"/>
          </ac:spMkLst>
        </pc:spChg>
      </pc:sldChg>
      <pc:sldChg chg="addSp delSp modSp new mod">
        <pc:chgData name="Matthias Scholer" userId="daad25a6-aca0-4d73-8528-03a468fe8ab9" providerId="ADAL" clId="{7D6CC86C-24F2-429D-A8D3-8BE9DF00DC96}" dt="2024-01-23T10:28:09.166" v="464"/>
        <pc:sldMkLst>
          <pc:docMk/>
          <pc:sldMk cId="2592982923" sldId="705"/>
        </pc:sldMkLst>
        <pc:spChg chg="del">
          <ac:chgData name="Matthias Scholer" userId="daad25a6-aca0-4d73-8528-03a468fe8ab9" providerId="ADAL" clId="{7D6CC86C-24F2-429D-A8D3-8BE9DF00DC96}" dt="2024-01-23T10:26:48.068" v="450" actId="478"/>
          <ac:spMkLst>
            <pc:docMk/>
            <pc:sldMk cId="2592982923" sldId="705"/>
            <ac:spMk id="2" creationId="{1E026979-9523-D6BD-FC7B-83AEE7E197BE}"/>
          </ac:spMkLst>
        </pc:spChg>
        <pc:spChg chg="mod">
          <ac:chgData name="Matthias Scholer" userId="daad25a6-aca0-4d73-8528-03a468fe8ab9" providerId="ADAL" clId="{7D6CC86C-24F2-429D-A8D3-8BE9DF00DC96}" dt="2024-01-23T10:28:09.166" v="464"/>
          <ac:spMkLst>
            <pc:docMk/>
            <pc:sldMk cId="2592982923" sldId="705"/>
            <ac:spMk id="3" creationId="{B77286E7-3322-34A5-6BF7-EBC7C0FD29EF}"/>
          </ac:spMkLst>
        </pc:spChg>
        <pc:picChg chg="add mod">
          <ac:chgData name="Matthias Scholer" userId="daad25a6-aca0-4d73-8528-03a468fe8ab9" providerId="ADAL" clId="{7D6CC86C-24F2-429D-A8D3-8BE9DF00DC96}" dt="2024-01-23T10:26:53.217" v="454" actId="1076"/>
          <ac:picMkLst>
            <pc:docMk/>
            <pc:sldMk cId="2592982923" sldId="705"/>
            <ac:picMk id="6" creationId="{88D878B0-0D06-1772-4F20-54D5A1B3B6C8}"/>
          </ac:picMkLst>
        </pc:picChg>
      </pc:sldChg>
      <pc:sldChg chg="addSp delSp modSp new mod">
        <pc:chgData name="Matthias Scholer" userId="daad25a6-aca0-4d73-8528-03a468fe8ab9" providerId="ADAL" clId="{7D6CC86C-24F2-429D-A8D3-8BE9DF00DC96}" dt="2024-01-23T14:02:13.298" v="809" actId="14100"/>
        <pc:sldMkLst>
          <pc:docMk/>
          <pc:sldMk cId="3692745671" sldId="706"/>
        </pc:sldMkLst>
        <pc:spChg chg="del">
          <ac:chgData name="Matthias Scholer" userId="daad25a6-aca0-4d73-8528-03a468fe8ab9" providerId="ADAL" clId="{7D6CC86C-24F2-429D-A8D3-8BE9DF00DC96}" dt="2024-01-23T14:01:56.123" v="803" actId="478"/>
          <ac:spMkLst>
            <pc:docMk/>
            <pc:sldMk cId="3692745671" sldId="706"/>
            <ac:spMk id="2" creationId="{7492F99E-F755-C978-AC8F-79F793FC46A6}"/>
          </ac:spMkLst>
        </pc:spChg>
        <pc:spChg chg="mod">
          <ac:chgData name="Matthias Scholer" userId="daad25a6-aca0-4d73-8528-03a468fe8ab9" providerId="ADAL" clId="{7D6CC86C-24F2-429D-A8D3-8BE9DF00DC96}" dt="2024-01-23T14:01:54.468" v="802" actId="27636"/>
          <ac:spMkLst>
            <pc:docMk/>
            <pc:sldMk cId="3692745671" sldId="706"/>
            <ac:spMk id="3" creationId="{6E745F4F-964B-828D-4E8E-39E6D9E13540}"/>
          </ac:spMkLst>
        </pc:spChg>
        <pc:spChg chg="add mod">
          <ac:chgData name="Matthias Scholer" userId="daad25a6-aca0-4d73-8528-03a468fe8ab9" providerId="ADAL" clId="{7D6CC86C-24F2-429D-A8D3-8BE9DF00DC96}" dt="2024-01-23T14:02:06.743" v="807"/>
          <ac:spMkLst>
            <pc:docMk/>
            <pc:sldMk cId="3692745671" sldId="706"/>
            <ac:spMk id="6" creationId="{10C3C485-8A53-265D-46D5-9626BF6FA2BD}"/>
          </ac:spMkLst>
        </pc:spChg>
        <pc:spChg chg="add mod">
          <ac:chgData name="Matthias Scholer" userId="daad25a6-aca0-4d73-8528-03a468fe8ab9" providerId="ADAL" clId="{7D6CC86C-24F2-429D-A8D3-8BE9DF00DC96}" dt="2024-01-23T14:02:06.743" v="807"/>
          <ac:spMkLst>
            <pc:docMk/>
            <pc:sldMk cId="3692745671" sldId="706"/>
            <ac:spMk id="7" creationId="{0C75FCF3-E4FC-314B-C464-3E01797F93CF}"/>
          </ac:spMkLst>
        </pc:spChg>
        <pc:spChg chg="add mod">
          <ac:chgData name="Matthias Scholer" userId="daad25a6-aca0-4d73-8528-03a468fe8ab9" providerId="ADAL" clId="{7D6CC86C-24F2-429D-A8D3-8BE9DF00DC96}" dt="2024-01-23T14:02:06.743" v="807"/>
          <ac:spMkLst>
            <pc:docMk/>
            <pc:sldMk cId="3692745671" sldId="706"/>
            <ac:spMk id="8" creationId="{FE50086A-8949-8C45-E895-88C8458810C2}"/>
          </ac:spMkLst>
        </pc:spChg>
        <pc:spChg chg="add mod">
          <ac:chgData name="Matthias Scholer" userId="daad25a6-aca0-4d73-8528-03a468fe8ab9" providerId="ADAL" clId="{7D6CC86C-24F2-429D-A8D3-8BE9DF00DC96}" dt="2024-01-23T14:02:06.743" v="807"/>
          <ac:spMkLst>
            <pc:docMk/>
            <pc:sldMk cId="3692745671" sldId="706"/>
            <ac:spMk id="11" creationId="{01CDBAFD-DF63-F75A-138C-5A53C35DE0BC}"/>
          </ac:spMkLst>
        </pc:spChg>
        <pc:spChg chg="add mod">
          <ac:chgData name="Matthias Scholer" userId="daad25a6-aca0-4d73-8528-03a468fe8ab9" providerId="ADAL" clId="{7D6CC86C-24F2-429D-A8D3-8BE9DF00DC96}" dt="2024-01-23T14:02:13.298" v="809" actId="14100"/>
          <ac:spMkLst>
            <pc:docMk/>
            <pc:sldMk cId="3692745671" sldId="706"/>
            <ac:spMk id="12" creationId="{8F1DA1E9-1993-0BF7-5ECC-1C35B87F59D8}"/>
          </ac:spMkLst>
        </pc:spChg>
        <pc:picChg chg="add mod">
          <ac:chgData name="Matthias Scholer" userId="daad25a6-aca0-4d73-8528-03a468fe8ab9" providerId="ADAL" clId="{7D6CC86C-24F2-429D-A8D3-8BE9DF00DC96}" dt="2024-01-23T14:02:06.743" v="807"/>
          <ac:picMkLst>
            <pc:docMk/>
            <pc:sldMk cId="3692745671" sldId="706"/>
            <ac:picMk id="9" creationId="{39303FCB-5A13-B143-76EE-4A2C999E6063}"/>
          </ac:picMkLst>
        </pc:picChg>
        <pc:picChg chg="add mod">
          <ac:chgData name="Matthias Scholer" userId="daad25a6-aca0-4d73-8528-03a468fe8ab9" providerId="ADAL" clId="{7D6CC86C-24F2-429D-A8D3-8BE9DF00DC96}" dt="2024-01-23T14:02:06.743" v="807"/>
          <ac:picMkLst>
            <pc:docMk/>
            <pc:sldMk cId="3692745671" sldId="706"/>
            <ac:picMk id="10" creationId="{7B182CCB-1503-C6D5-33B7-A9690A2B8CC1}"/>
          </ac:picMkLst>
        </pc:picChg>
      </pc:sldChg>
      <pc:sldChg chg="addSp delSp modSp new mod">
        <pc:chgData name="Matthias Scholer" userId="daad25a6-aca0-4d73-8528-03a468fe8ab9" providerId="ADAL" clId="{7D6CC86C-24F2-429D-A8D3-8BE9DF00DC96}" dt="2024-01-23T14:07:16.335" v="910" actId="1076"/>
        <pc:sldMkLst>
          <pc:docMk/>
          <pc:sldMk cId="292532778" sldId="707"/>
        </pc:sldMkLst>
        <pc:spChg chg="del">
          <ac:chgData name="Matthias Scholer" userId="daad25a6-aca0-4d73-8528-03a468fe8ab9" providerId="ADAL" clId="{7D6CC86C-24F2-429D-A8D3-8BE9DF00DC96}" dt="2024-01-23T14:07:11.225" v="906" actId="478"/>
          <ac:spMkLst>
            <pc:docMk/>
            <pc:sldMk cId="292532778" sldId="707"/>
            <ac:spMk id="2" creationId="{D4C51121-7FFA-FF59-A7A8-CE621E7C909C}"/>
          </ac:spMkLst>
        </pc:spChg>
        <pc:spChg chg="mod">
          <ac:chgData name="Matthias Scholer" userId="daad25a6-aca0-4d73-8528-03a468fe8ab9" providerId="ADAL" clId="{7D6CC86C-24F2-429D-A8D3-8BE9DF00DC96}" dt="2024-01-23T14:07:09.742" v="905"/>
          <ac:spMkLst>
            <pc:docMk/>
            <pc:sldMk cId="292532778" sldId="707"/>
            <ac:spMk id="3" creationId="{FA7AB340-1716-18FD-A714-9446FACBD15B}"/>
          </ac:spMkLst>
        </pc:spChg>
        <pc:picChg chg="add del mod">
          <ac:chgData name="Matthias Scholer" userId="daad25a6-aca0-4d73-8528-03a468fe8ab9" providerId="ADAL" clId="{7D6CC86C-24F2-429D-A8D3-8BE9DF00DC96}" dt="2024-01-23T14:06:57.114" v="901" actId="478"/>
          <ac:picMkLst>
            <pc:docMk/>
            <pc:sldMk cId="292532778" sldId="707"/>
            <ac:picMk id="6" creationId="{78675628-C43A-423B-6D06-6DF3018A786E}"/>
          </ac:picMkLst>
        </pc:picChg>
        <pc:picChg chg="add del mod">
          <ac:chgData name="Matthias Scholer" userId="daad25a6-aca0-4d73-8528-03a468fe8ab9" providerId="ADAL" clId="{7D6CC86C-24F2-429D-A8D3-8BE9DF00DC96}" dt="2024-01-23T14:06:57.482" v="902" actId="478"/>
          <ac:picMkLst>
            <pc:docMk/>
            <pc:sldMk cId="292532778" sldId="707"/>
            <ac:picMk id="7" creationId="{03ED23A4-31C7-5C20-477B-02DAFD02BA70}"/>
          </ac:picMkLst>
        </pc:picChg>
        <pc:picChg chg="add del mod">
          <ac:chgData name="Matthias Scholer" userId="daad25a6-aca0-4d73-8528-03a468fe8ab9" providerId="ADAL" clId="{7D6CC86C-24F2-429D-A8D3-8BE9DF00DC96}" dt="2024-01-23T14:07:16.335" v="910" actId="1076"/>
          <ac:picMkLst>
            <pc:docMk/>
            <pc:sldMk cId="292532778" sldId="707"/>
            <ac:picMk id="8" creationId="{BA65DBEA-E883-53DB-8EC3-82B538384AB8}"/>
          </ac:picMkLst>
        </pc:picChg>
      </pc:sldChg>
      <pc:sldChg chg="addSp delSp modSp add mod">
        <pc:chgData name="Matthias Scholer" userId="daad25a6-aca0-4d73-8528-03a468fe8ab9" providerId="ADAL" clId="{7D6CC86C-24F2-429D-A8D3-8BE9DF00DC96}" dt="2024-01-25T09:04:28.679" v="1086" actId="12789"/>
        <pc:sldMkLst>
          <pc:docMk/>
          <pc:sldMk cId="2515356512" sldId="708"/>
        </pc:sldMkLst>
        <pc:spChg chg="mod">
          <ac:chgData name="Matthias Scholer" userId="daad25a6-aca0-4d73-8528-03a468fe8ab9" providerId="ADAL" clId="{7D6CC86C-24F2-429D-A8D3-8BE9DF00DC96}" dt="2024-01-25T08:59:33.119" v="951" actId="948"/>
          <ac:spMkLst>
            <pc:docMk/>
            <pc:sldMk cId="2515356512" sldId="708"/>
            <ac:spMk id="2" creationId="{00000000-0000-0000-0000-000000000000}"/>
          </ac:spMkLst>
        </pc:spChg>
        <pc:spChg chg="mod">
          <ac:chgData name="Matthias Scholer" userId="daad25a6-aca0-4d73-8528-03a468fe8ab9" providerId="ADAL" clId="{7D6CC86C-24F2-429D-A8D3-8BE9DF00DC96}" dt="2024-01-25T09:03:53.667" v="1079" actId="1076"/>
          <ac:spMkLst>
            <pc:docMk/>
            <pc:sldMk cId="2515356512" sldId="708"/>
            <ac:spMk id="6" creationId="{00000000-0000-0000-0000-000000000000}"/>
          </ac:spMkLst>
        </pc:spChg>
        <pc:spChg chg="add mod">
          <ac:chgData name="Matthias Scholer" userId="daad25a6-aca0-4d73-8528-03a468fe8ab9" providerId="ADAL" clId="{7D6CC86C-24F2-429D-A8D3-8BE9DF00DC96}" dt="2024-01-25T09:02:06.743" v="1024" actId="14100"/>
          <ac:spMkLst>
            <pc:docMk/>
            <pc:sldMk cId="2515356512" sldId="708"/>
            <ac:spMk id="8" creationId="{DB5E3C25-F4BA-BFD5-8E00-0A94059A4EEB}"/>
          </ac:spMkLst>
        </pc:spChg>
        <pc:spChg chg="add mod">
          <ac:chgData name="Matthias Scholer" userId="daad25a6-aca0-4d73-8528-03a468fe8ab9" providerId="ADAL" clId="{7D6CC86C-24F2-429D-A8D3-8BE9DF00DC96}" dt="2024-01-25T09:02:13.183" v="1040" actId="1035"/>
          <ac:spMkLst>
            <pc:docMk/>
            <pc:sldMk cId="2515356512" sldId="708"/>
            <ac:spMk id="9" creationId="{B5E9CDD7-36C8-13D0-B119-C289206B34A7}"/>
          </ac:spMkLst>
        </pc:spChg>
        <pc:spChg chg="add mod">
          <ac:chgData name="Matthias Scholer" userId="daad25a6-aca0-4d73-8528-03a468fe8ab9" providerId="ADAL" clId="{7D6CC86C-24F2-429D-A8D3-8BE9DF00DC96}" dt="2024-01-25T09:02:22.458" v="1042" actId="14100"/>
          <ac:spMkLst>
            <pc:docMk/>
            <pc:sldMk cId="2515356512" sldId="708"/>
            <ac:spMk id="10" creationId="{E02595C9-B128-4F82-155D-1EF7FB3A95BF}"/>
          </ac:spMkLst>
        </pc:spChg>
        <pc:spChg chg="del mod">
          <ac:chgData name="Matthias Scholer" userId="daad25a6-aca0-4d73-8528-03a468fe8ab9" providerId="ADAL" clId="{7D6CC86C-24F2-429D-A8D3-8BE9DF00DC96}" dt="2024-01-25T09:00:13.496" v="967" actId="478"/>
          <ac:spMkLst>
            <pc:docMk/>
            <pc:sldMk cId="2515356512" sldId="708"/>
            <ac:spMk id="11" creationId="{00000000-0000-0000-0000-000000000000}"/>
          </ac:spMkLst>
        </pc:spChg>
        <pc:spChg chg="del">
          <ac:chgData name="Matthias Scholer" userId="daad25a6-aca0-4d73-8528-03a468fe8ab9" providerId="ADAL" clId="{7D6CC86C-24F2-429D-A8D3-8BE9DF00DC96}" dt="2024-01-25T09:00:10.312" v="965" actId="478"/>
          <ac:spMkLst>
            <pc:docMk/>
            <pc:sldMk cId="2515356512" sldId="708"/>
            <ac:spMk id="12" creationId="{00000000-0000-0000-0000-000000000000}"/>
          </ac:spMkLst>
        </pc:spChg>
        <pc:spChg chg="del">
          <ac:chgData name="Matthias Scholer" userId="daad25a6-aca0-4d73-8528-03a468fe8ab9" providerId="ADAL" clId="{7D6CC86C-24F2-429D-A8D3-8BE9DF00DC96}" dt="2024-01-25T08:59:34.885" v="952" actId="478"/>
          <ac:spMkLst>
            <pc:docMk/>
            <pc:sldMk cId="2515356512" sldId="708"/>
            <ac:spMk id="13" creationId="{00000000-0000-0000-0000-000000000000}"/>
          </ac:spMkLst>
        </pc:spChg>
        <pc:spChg chg="add mod">
          <ac:chgData name="Matthias Scholer" userId="daad25a6-aca0-4d73-8528-03a468fe8ab9" providerId="ADAL" clId="{7D6CC86C-24F2-429D-A8D3-8BE9DF00DC96}" dt="2024-01-25T09:04:23.645" v="1085" actId="555"/>
          <ac:spMkLst>
            <pc:docMk/>
            <pc:sldMk cId="2515356512" sldId="708"/>
            <ac:spMk id="14" creationId="{EB7F84E1-7F7F-EB67-58D1-23D3B80075EF}"/>
          </ac:spMkLst>
        </pc:spChg>
        <pc:spChg chg="add mod">
          <ac:chgData name="Matthias Scholer" userId="daad25a6-aca0-4d73-8528-03a468fe8ab9" providerId="ADAL" clId="{7D6CC86C-24F2-429D-A8D3-8BE9DF00DC96}" dt="2024-01-25T09:04:23.645" v="1085" actId="555"/>
          <ac:spMkLst>
            <pc:docMk/>
            <pc:sldMk cId="2515356512" sldId="708"/>
            <ac:spMk id="15" creationId="{E1F45BA4-FED8-7A2E-A0E1-8D6B06C7B73B}"/>
          </ac:spMkLst>
        </pc:spChg>
        <pc:spChg chg="del">
          <ac:chgData name="Matthias Scholer" userId="daad25a6-aca0-4d73-8528-03a468fe8ab9" providerId="ADAL" clId="{7D6CC86C-24F2-429D-A8D3-8BE9DF00DC96}" dt="2024-01-25T08:59:35.507" v="953" actId="478"/>
          <ac:spMkLst>
            <pc:docMk/>
            <pc:sldMk cId="2515356512" sldId="708"/>
            <ac:spMk id="16" creationId="{00000000-0000-0000-0000-000000000000}"/>
          </ac:spMkLst>
        </pc:spChg>
        <pc:spChg chg="mod">
          <ac:chgData name="Matthias Scholer" userId="daad25a6-aca0-4d73-8528-03a468fe8ab9" providerId="ADAL" clId="{7D6CC86C-24F2-429D-A8D3-8BE9DF00DC96}" dt="2024-01-25T09:03:57.312" v="1080" actId="1076"/>
          <ac:spMkLst>
            <pc:docMk/>
            <pc:sldMk cId="2515356512" sldId="708"/>
            <ac:spMk id="20" creationId="{00000000-0000-0000-0000-000000000000}"/>
          </ac:spMkLst>
        </pc:spChg>
        <pc:picChg chg="del mod">
          <ac:chgData name="Matthias Scholer" userId="daad25a6-aca0-4d73-8528-03a468fe8ab9" providerId="ADAL" clId="{7D6CC86C-24F2-429D-A8D3-8BE9DF00DC96}" dt="2024-01-25T08:59:35.877" v="955" actId="478"/>
          <ac:picMkLst>
            <pc:docMk/>
            <pc:sldMk cId="2515356512" sldId="708"/>
            <ac:picMk id="3" creationId="{00000000-0000-0000-0000-000000000000}"/>
          </ac:picMkLst>
        </pc:picChg>
        <pc:picChg chg="del">
          <ac:chgData name="Matthias Scholer" userId="daad25a6-aca0-4d73-8528-03a468fe8ab9" providerId="ADAL" clId="{7D6CC86C-24F2-429D-A8D3-8BE9DF00DC96}" dt="2024-01-25T08:59:36.278" v="956" actId="478"/>
          <ac:picMkLst>
            <pc:docMk/>
            <pc:sldMk cId="2515356512" sldId="708"/>
            <ac:picMk id="5" creationId="{6090734A-A0A6-B849-44F9-E03D5B139B09}"/>
          </ac:picMkLst>
        </pc:picChg>
        <pc:picChg chg="add mod">
          <ac:chgData name="Matthias Scholer" userId="daad25a6-aca0-4d73-8528-03a468fe8ab9" providerId="ADAL" clId="{7D6CC86C-24F2-429D-A8D3-8BE9DF00DC96}" dt="2024-01-25T09:04:28.679" v="1086" actId="12789"/>
          <ac:picMkLst>
            <pc:docMk/>
            <pc:sldMk cId="2515356512" sldId="708"/>
            <ac:picMk id="18" creationId="{CCE501A8-B288-955C-4142-73972D2031DA}"/>
          </ac:picMkLst>
        </pc:picChg>
        <pc:picChg chg="add mod">
          <ac:chgData name="Matthias Scholer" userId="daad25a6-aca0-4d73-8528-03a468fe8ab9" providerId="ADAL" clId="{7D6CC86C-24F2-429D-A8D3-8BE9DF00DC96}" dt="2024-01-25T09:04:28.679" v="1086" actId="12789"/>
          <ac:picMkLst>
            <pc:docMk/>
            <pc:sldMk cId="2515356512" sldId="708"/>
            <ac:picMk id="21" creationId="{8A3892DC-0DED-D822-5A0D-59A671FDC20D}"/>
          </ac:picMkLst>
        </pc:picChg>
        <pc:picChg chg="add mod">
          <ac:chgData name="Matthias Scholer" userId="daad25a6-aca0-4d73-8528-03a468fe8ab9" providerId="ADAL" clId="{7D6CC86C-24F2-429D-A8D3-8BE9DF00DC96}" dt="2024-01-25T09:04:14.424" v="1083" actId="12789"/>
          <ac:picMkLst>
            <pc:docMk/>
            <pc:sldMk cId="2515356512" sldId="708"/>
            <ac:picMk id="23" creationId="{219A0D65-53E5-F2E1-E518-B0B9D4C96EAC}"/>
          </ac:picMkLst>
        </pc:picChg>
        <pc:picChg chg="add mod">
          <ac:chgData name="Matthias Scholer" userId="daad25a6-aca0-4d73-8528-03a468fe8ab9" providerId="ADAL" clId="{7D6CC86C-24F2-429D-A8D3-8BE9DF00DC96}" dt="2024-01-25T09:04:14.424" v="1083" actId="12789"/>
          <ac:picMkLst>
            <pc:docMk/>
            <pc:sldMk cId="2515356512" sldId="708"/>
            <ac:picMk id="25" creationId="{28158D3D-E776-1CE5-0373-826B41BC0714}"/>
          </ac:picMkLst>
        </pc:picChg>
      </pc:sldChg>
      <pc:sldChg chg="delSp modSp add mod">
        <pc:chgData name="Matthias Scholer" userId="daad25a6-aca0-4d73-8528-03a468fe8ab9" providerId="ADAL" clId="{7D6CC86C-24F2-429D-A8D3-8BE9DF00DC96}" dt="2024-01-25T09:13:27.463" v="1302" actId="20577"/>
        <pc:sldMkLst>
          <pc:docMk/>
          <pc:sldMk cId="541133264" sldId="709"/>
        </pc:sldMkLst>
        <pc:spChg chg="mod">
          <ac:chgData name="Matthias Scholer" userId="daad25a6-aca0-4d73-8528-03a468fe8ab9" providerId="ADAL" clId="{7D6CC86C-24F2-429D-A8D3-8BE9DF00DC96}" dt="2024-01-25T09:09:04.083" v="1173" actId="20577"/>
          <ac:spMkLst>
            <pc:docMk/>
            <pc:sldMk cId="541133264" sldId="709"/>
            <ac:spMk id="2" creationId="{00000000-0000-0000-0000-000000000000}"/>
          </ac:spMkLst>
        </pc:spChg>
        <pc:spChg chg="mod">
          <ac:chgData name="Matthias Scholer" userId="daad25a6-aca0-4d73-8528-03a468fe8ab9" providerId="ADAL" clId="{7D6CC86C-24F2-429D-A8D3-8BE9DF00DC96}" dt="2024-01-25T09:13:27.463" v="1302" actId="20577"/>
          <ac:spMkLst>
            <pc:docMk/>
            <pc:sldMk cId="541133264" sldId="709"/>
            <ac:spMk id="4" creationId="{BAA74BDB-19C9-FDCC-A832-71D3540E2E44}"/>
          </ac:spMkLst>
        </pc:spChg>
        <pc:spChg chg="del">
          <ac:chgData name="Matthias Scholer" userId="daad25a6-aca0-4d73-8528-03a468fe8ab9" providerId="ADAL" clId="{7D6CC86C-24F2-429D-A8D3-8BE9DF00DC96}" dt="2024-01-25T09:08:59.751" v="1172" actId="478"/>
          <ac:spMkLst>
            <pc:docMk/>
            <pc:sldMk cId="541133264" sldId="709"/>
            <ac:spMk id="11" creationId="{00000000-0000-0000-0000-000000000000}"/>
          </ac:spMkLst>
        </pc:spChg>
        <pc:spChg chg="del">
          <ac:chgData name="Matthias Scholer" userId="daad25a6-aca0-4d73-8528-03a468fe8ab9" providerId="ADAL" clId="{7D6CC86C-24F2-429D-A8D3-8BE9DF00DC96}" dt="2024-01-25T09:08:56.521" v="1171" actId="478"/>
          <ac:spMkLst>
            <pc:docMk/>
            <pc:sldMk cId="541133264" sldId="709"/>
            <ac:spMk id="13" creationId="{00000000-0000-0000-0000-000000000000}"/>
          </ac:spMkLst>
        </pc:spChg>
        <pc:spChg chg="mod">
          <ac:chgData name="Matthias Scholer" userId="daad25a6-aca0-4d73-8528-03a468fe8ab9" providerId="ADAL" clId="{7D6CC86C-24F2-429D-A8D3-8BE9DF00DC96}" dt="2024-01-25T09:09:20.489" v="1261" actId="12788"/>
          <ac:spMkLst>
            <pc:docMk/>
            <pc:sldMk cId="541133264" sldId="709"/>
            <ac:spMk id="16" creationId="{00000000-0000-0000-0000-000000000000}"/>
          </ac:spMkLst>
        </pc:spChg>
        <pc:grpChg chg="del">
          <ac:chgData name="Matthias Scholer" userId="daad25a6-aca0-4d73-8528-03a468fe8ab9" providerId="ADAL" clId="{7D6CC86C-24F2-429D-A8D3-8BE9DF00DC96}" dt="2024-01-25T09:08:55.192" v="1170" actId="478"/>
          <ac:grpSpMkLst>
            <pc:docMk/>
            <pc:sldMk cId="541133264" sldId="709"/>
            <ac:grpSpMk id="3" creationId="{00000000-0000-0000-0000-000000000000}"/>
          </ac:grpSpMkLst>
        </pc:grpChg>
        <pc:picChg chg="mod">
          <ac:chgData name="Matthias Scholer" userId="daad25a6-aca0-4d73-8528-03a468fe8ab9" providerId="ADAL" clId="{7D6CC86C-24F2-429D-A8D3-8BE9DF00DC96}" dt="2024-01-25T09:09:23.096" v="1269" actId="1035"/>
          <ac:picMkLst>
            <pc:docMk/>
            <pc:sldMk cId="541133264" sldId="709"/>
            <ac:picMk id="14" creationId="{00000000-0000-0000-0000-000000000000}"/>
          </ac:picMkLst>
        </pc:picChg>
      </pc:sldChg>
      <pc:sldChg chg="delSp modSp mod">
        <pc:chgData name="Matthias Scholer" userId="daad25a6-aca0-4d73-8528-03a468fe8ab9" providerId="ADAL" clId="{7D6CC86C-24F2-429D-A8D3-8BE9DF00DC96}" dt="2024-01-25T09:36:17.539" v="1340" actId="21"/>
        <pc:sldMkLst>
          <pc:docMk/>
          <pc:sldMk cId="4294508008" sldId="710"/>
        </pc:sldMkLst>
        <pc:spChg chg="mod">
          <ac:chgData name="Matthias Scholer" userId="daad25a6-aca0-4d73-8528-03a468fe8ab9" providerId="ADAL" clId="{7D6CC86C-24F2-429D-A8D3-8BE9DF00DC96}" dt="2024-01-25T09:35:54.089" v="1334" actId="948"/>
          <ac:spMkLst>
            <pc:docMk/>
            <pc:sldMk cId="4294508008" sldId="710"/>
            <ac:spMk id="3"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6"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8"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9"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2"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3"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4"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5"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6"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7"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8"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19"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20" creationId="{00000000-0000-0000-0000-000000000000}"/>
          </ac:spMkLst>
        </pc:spChg>
        <pc:spChg chg="del">
          <ac:chgData name="Matthias Scholer" userId="daad25a6-aca0-4d73-8528-03a468fe8ab9" providerId="ADAL" clId="{7D6CC86C-24F2-429D-A8D3-8BE9DF00DC96}" dt="2024-01-25T09:36:17.539" v="1340" actId="21"/>
          <ac:spMkLst>
            <pc:docMk/>
            <pc:sldMk cId="4294508008" sldId="710"/>
            <ac:spMk id="21" creationId="{00000000-0000-0000-0000-000000000000}"/>
          </ac:spMkLst>
        </pc:spChg>
        <pc:spChg chg="del mod">
          <ac:chgData name="Matthias Scholer" userId="daad25a6-aca0-4d73-8528-03a468fe8ab9" providerId="ADAL" clId="{7D6CC86C-24F2-429D-A8D3-8BE9DF00DC96}" dt="2024-01-25T09:35:46.385" v="1332" actId="478"/>
          <ac:spMkLst>
            <pc:docMk/>
            <pc:sldMk cId="4294508008" sldId="710"/>
            <ac:spMk id="23" creationId="{00000000-0000-0000-0000-000000000000}"/>
          </ac:spMkLst>
        </pc:spChg>
      </pc:sldChg>
      <pc:sldChg chg="addSp delSp modSp new mod">
        <pc:chgData name="Matthias Scholer" userId="daad25a6-aca0-4d73-8528-03a468fe8ab9" providerId="ADAL" clId="{7D6CC86C-24F2-429D-A8D3-8BE9DF00DC96}" dt="2024-01-25T09:38:24.644" v="1374" actId="1038"/>
        <pc:sldMkLst>
          <pc:docMk/>
          <pc:sldMk cId="1994411489" sldId="711"/>
        </pc:sldMkLst>
        <pc:spChg chg="del">
          <ac:chgData name="Matthias Scholer" userId="daad25a6-aca0-4d73-8528-03a468fe8ab9" providerId="ADAL" clId="{7D6CC86C-24F2-429D-A8D3-8BE9DF00DC96}" dt="2024-01-25T09:36:20.772" v="1341" actId="478"/>
          <ac:spMkLst>
            <pc:docMk/>
            <pc:sldMk cId="1994411489" sldId="711"/>
            <ac:spMk id="2" creationId="{94CFA9CA-1C20-2044-C7F1-3B276A8A27B4}"/>
          </ac:spMkLst>
        </pc:spChg>
        <pc:spChg chg="mod">
          <ac:chgData name="Matthias Scholer" userId="daad25a6-aca0-4d73-8528-03a468fe8ab9" providerId="ADAL" clId="{7D6CC86C-24F2-429D-A8D3-8BE9DF00DC96}" dt="2024-01-25T09:36:12.271" v="1339" actId="948"/>
          <ac:spMkLst>
            <pc:docMk/>
            <pc:sldMk cId="1994411489" sldId="711"/>
            <ac:spMk id="3" creationId="{8A0FE85B-7F88-952D-864D-8DD2F8AAD7D2}"/>
          </ac:spMkLst>
        </pc:spChg>
        <pc:spChg chg="add del mod">
          <ac:chgData name="Matthias Scholer" userId="daad25a6-aca0-4d73-8528-03a468fe8ab9" providerId="ADAL" clId="{7D6CC86C-24F2-429D-A8D3-8BE9DF00DC96}" dt="2024-01-25T09:36:42.913" v="1349"/>
          <ac:spMkLst>
            <pc:docMk/>
            <pc:sldMk cId="1994411489" sldId="711"/>
            <ac:spMk id="6" creationId="{0588A828-C1DD-EC8D-1760-D4454D208E50}"/>
          </ac:spMkLst>
        </pc:spChg>
        <pc:spChg chg="add del mod">
          <ac:chgData name="Matthias Scholer" userId="daad25a6-aca0-4d73-8528-03a468fe8ab9" providerId="ADAL" clId="{7D6CC86C-24F2-429D-A8D3-8BE9DF00DC96}" dt="2024-01-25T09:36:42.913" v="1349"/>
          <ac:spMkLst>
            <pc:docMk/>
            <pc:sldMk cId="1994411489" sldId="711"/>
            <ac:spMk id="7" creationId="{48709235-0894-D611-26E0-E317F305B3CF}"/>
          </ac:spMkLst>
        </pc:spChg>
        <pc:spChg chg="add del mod">
          <ac:chgData name="Matthias Scholer" userId="daad25a6-aca0-4d73-8528-03a468fe8ab9" providerId="ADAL" clId="{7D6CC86C-24F2-429D-A8D3-8BE9DF00DC96}" dt="2024-01-25T09:36:42.913" v="1349"/>
          <ac:spMkLst>
            <pc:docMk/>
            <pc:sldMk cId="1994411489" sldId="711"/>
            <ac:spMk id="8" creationId="{738683F0-3219-5623-640A-7F6E6789007C}"/>
          </ac:spMkLst>
        </pc:spChg>
        <pc:spChg chg="add del mod">
          <ac:chgData name="Matthias Scholer" userId="daad25a6-aca0-4d73-8528-03a468fe8ab9" providerId="ADAL" clId="{7D6CC86C-24F2-429D-A8D3-8BE9DF00DC96}" dt="2024-01-25T09:36:42.913" v="1349"/>
          <ac:spMkLst>
            <pc:docMk/>
            <pc:sldMk cId="1994411489" sldId="711"/>
            <ac:spMk id="9" creationId="{9F5C148D-0DD7-84FE-C193-66C0DAB2AD5A}"/>
          </ac:spMkLst>
        </pc:spChg>
        <pc:spChg chg="add del mod">
          <ac:chgData name="Matthias Scholer" userId="daad25a6-aca0-4d73-8528-03a468fe8ab9" providerId="ADAL" clId="{7D6CC86C-24F2-429D-A8D3-8BE9DF00DC96}" dt="2024-01-25T09:36:42.913" v="1349"/>
          <ac:spMkLst>
            <pc:docMk/>
            <pc:sldMk cId="1994411489" sldId="711"/>
            <ac:spMk id="10" creationId="{7626F867-7C1F-9198-377D-22F8DD8849FC}"/>
          </ac:spMkLst>
        </pc:spChg>
        <pc:spChg chg="add del mod">
          <ac:chgData name="Matthias Scholer" userId="daad25a6-aca0-4d73-8528-03a468fe8ab9" providerId="ADAL" clId="{7D6CC86C-24F2-429D-A8D3-8BE9DF00DC96}" dt="2024-01-25T09:36:42.913" v="1349"/>
          <ac:spMkLst>
            <pc:docMk/>
            <pc:sldMk cId="1994411489" sldId="711"/>
            <ac:spMk id="11" creationId="{03D8A9C2-C5EB-C227-5CE3-B2501D77A5BE}"/>
          </ac:spMkLst>
        </pc:spChg>
        <pc:spChg chg="add del mod">
          <ac:chgData name="Matthias Scholer" userId="daad25a6-aca0-4d73-8528-03a468fe8ab9" providerId="ADAL" clId="{7D6CC86C-24F2-429D-A8D3-8BE9DF00DC96}" dt="2024-01-25T09:36:42.913" v="1349"/>
          <ac:spMkLst>
            <pc:docMk/>
            <pc:sldMk cId="1994411489" sldId="711"/>
            <ac:spMk id="12" creationId="{29BB22F4-96BB-C340-6155-D2BBD0873F7C}"/>
          </ac:spMkLst>
        </pc:spChg>
        <pc:spChg chg="add del mod">
          <ac:chgData name="Matthias Scholer" userId="daad25a6-aca0-4d73-8528-03a468fe8ab9" providerId="ADAL" clId="{7D6CC86C-24F2-429D-A8D3-8BE9DF00DC96}" dt="2024-01-25T09:36:42.913" v="1349"/>
          <ac:spMkLst>
            <pc:docMk/>
            <pc:sldMk cId="1994411489" sldId="711"/>
            <ac:spMk id="13" creationId="{5D3B4FCA-0680-7F01-4C2B-F5D07AC5DEFC}"/>
          </ac:spMkLst>
        </pc:spChg>
        <pc:spChg chg="add del mod">
          <ac:chgData name="Matthias Scholer" userId="daad25a6-aca0-4d73-8528-03a468fe8ab9" providerId="ADAL" clId="{7D6CC86C-24F2-429D-A8D3-8BE9DF00DC96}" dt="2024-01-25T09:36:42.913" v="1349"/>
          <ac:spMkLst>
            <pc:docMk/>
            <pc:sldMk cId="1994411489" sldId="711"/>
            <ac:spMk id="14" creationId="{977F4C0B-F57D-BF1C-64C8-C7E5C823E104}"/>
          </ac:spMkLst>
        </pc:spChg>
        <pc:spChg chg="add del mod">
          <ac:chgData name="Matthias Scholer" userId="daad25a6-aca0-4d73-8528-03a468fe8ab9" providerId="ADAL" clId="{7D6CC86C-24F2-429D-A8D3-8BE9DF00DC96}" dt="2024-01-25T09:36:42.913" v="1349"/>
          <ac:spMkLst>
            <pc:docMk/>
            <pc:sldMk cId="1994411489" sldId="711"/>
            <ac:spMk id="15" creationId="{FFFFB47C-2E03-5400-1B7D-172F0D118C9C}"/>
          </ac:spMkLst>
        </pc:spChg>
        <pc:spChg chg="add del mod">
          <ac:chgData name="Matthias Scholer" userId="daad25a6-aca0-4d73-8528-03a468fe8ab9" providerId="ADAL" clId="{7D6CC86C-24F2-429D-A8D3-8BE9DF00DC96}" dt="2024-01-25T09:36:42.913" v="1349"/>
          <ac:spMkLst>
            <pc:docMk/>
            <pc:sldMk cId="1994411489" sldId="711"/>
            <ac:spMk id="16" creationId="{F05647F8-8FD1-61C4-8712-F69DC94D36C1}"/>
          </ac:spMkLst>
        </pc:spChg>
        <pc:spChg chg="add del mod">
          <ac:chgData name="Matthias Scholer" userId="daad25a6-aca0-4d73-8528-03a468fe8ab9" providerId="ADAL" clId="{7D6CC86C-24F2-429D-A8D3-8BE9DF00DC96}" dt="2024-01-25T09:36:42.913" v="1349"/>
          <ac:spMkLst>
            <pc:docMk/>
            <pc:sldMk cId="1994411489" sldId="711"/>
            <ac:spMk id="17" creationId="{2F96CEF1-3EA6-13E7-A060-62F706B76A84}"/>
          </ac:spMkLst>
        </pc:spChg>
        <pc:spChg chg="add del mod">
          <ac:chgData name="Matthias Scholer" userId="daad25a6-aca0-4d73-8528-03a468fe8ab9" providerId="ADAL" clId="{7D6CC86C-24F2-429D-A8D3-8BE9DF00DC96}" dt="2024-01-25T09:36:42.913" v="1349"/>
          <ac:spMkLst>
            <pc:docMk/>
            <pc:sldMk cId="1994411489" sldId="711"/>
            <ac:spMk id="18" creationId="{75C3B072-64C3-3BAF-FD02-AC79816ED4F2}"/>
          </ac:spMkLst>
        </pc:spChg>
        <pc:spChg chg="mod">
          <ac:chgData name="Matthias Scholer" userId="daad25a6-aca0-4d73-8528-03a468fe8ab9" providerId="ADAL" clId="{7D6CC86C-24F2-429D-A8D3-8BE9DF00DC96}" dt="2024-01-25T09:36:58.952" v="1350"/>
          <ac:spMkLst>
            <pc:docMk/>
            <pc:sldMk cId="1994411489" sldId="711"/>
            <ac:spMk id="21" creationId="{37BC46AB-C39B-D8C9-86BB-4E26E7775303}"/>
          </ac:spMkLst>
        </pc:spChg>
        <pc:spChg chg="mod">
          <ac:chgData name="Matthias Scholer" userId="daad25a6-aca0-4d73-8528-03a468fe8ab9" providerId="ADAL" clId="{7D6CC86C-24F2-429D-A8D3-8BE9DF00DC96}" dt="2024-01-25T09:36:58.952" v="1350"/>
          <ac:spMkLst>
            <pc:docMk/>
            <pc:sldMk cId="1994411489" sldId="711"/>
            <ac:spMk id="22" creationId="{CD955983-7AFF-6273-7BBB-72E40C814281}"/>
          </ac:spMkLst>
        </pc:spChg>
        <pc:spChg chg="mod">
          <ac:chgData name="Matthias Scholer" userId="daad25a6-aca0-4d73-8528-03a468fe8ab9" providerId="ADAL" clId="{7D6CC86C-24F2-429D-A8D3-8BE9DF00DC96}" dt="2024-01-25T09:36:58.952" v="1350"/>
          <ac:spMkLst>
            <pc:docMk/>
            <pc:sldMk cId="1994411489" sldId="711"/>
            <ac:spMk id="23" creationId="{649C4BEF-97E7-4C6A-A120-82E541421973}"/>
          </ac:spMkLst>
        </pc:spChg>
        <pc:spChg chg="mod">
          <ac:chgData name="Matthias Scholer" userId="daad25a6-aca0-4d73-8528-03a468fe8ab9" providerId="ADAL" clId="{7D6CC86C-24F2-429D-A8D3-8BE9DF00DC96}" dt="2024-01-25T09:36:58.952" v="1350"/>
          <ac:spMkLst>
            <pc:docMk/>
            <pc:sldMk cId="1994411489" sldId="711"/>
            <ac:spMk id="24" creationId="{E214745C-4F24-7DE8-4B0D-CC56A9CA0452}"/>
          </ac:spMkLst>
        </pc:spChg>
        <pc:spChg chg="mod">
          <ac:chgData name="Matthias Scholer" userId="daad25a6-aca0-4d73-8528-03a468fe8ab9" providerId="ADAL" clId="{7D6CC86C-24F2-429D-A8D3-8BE9DF00DC96}" dt="2024-01-25T09:36:58.952" v="1350"/>
          <ac:spMkLst>
            <pc:docMk/>
            <pc:sldMk cId="1994411489" sldId="711"/>
            <ac:spMk id="25" creationId="{02827E11-784A-FFF6-C59D-9BD3127DC05A}"/>
          </ac:spMkLst>
        </pc:spChg>
        <pc:spChg chg="mod">
          <ac:chgData name="Matthias Scholer" userId="daad25a6-aca0-4d73-8528-03a468fe8ab9" providerId="ADAL" clId="{7D6CC86C-24F2-429D-A8D3-8BE9DF00DC96}" dt="2024-01-25T09:36:58.952" v="1350"/>
          <ac:spMkLst>
            <pc:docMk/>
            <pc:sldMk cId="1994411489" sldId="711"/>
            <ac:spMk id="26" creationId="{78E5DB0F-778E-5A3A-BCB2-271A35A76D43}"/>
          </ac:spMkLst>
        </pc:spChg>
        <pc:spChg chg="mod">
          <ac:chgData name="Matthias Scholer" userId="daad25a6-aca0-4d73-8528-03a468fe8ab9" providerId="ADAL" clId="{7D6CC86C-24F2-429D-A8D3-8BE9DF00DC96}" dt="2024-01-25T09:36:58.952" v="1350"/>
          <ac:spMkLst>
            <pc:docMk/>
            <pc:sldMk cId="1994411489" sldId="711"/>
            <ac:spMk id="27" creationId="{A46A31C6-B293-43A4-DFAF-18D8D7C8EE84}"/>
          </ac:spMkLst>
        </pc:spChg>
        <pc:spChg chg="mod">
          <ac:chgData name="Matthias Scholer" userId="daad25a6-aca0-4d73-8528-03a468fe8ab9" providerId="ADAL" clId="{7D6CC86C-24F2-429D-A8D3-8BE9DF00DC96}" dt="2024-01-25T09:36:58.952" v="1350"/>
          <ac:spMkLst>
            <pc:docMk/>
            <pc:sldMk cId="1994411489" sldId="711"/>
            <ac:spMk id="28" creationId="{5C0A3777-95D3-DC52-9B62-E2FB06E87AF1}"/>
          </ac:spMkLst>
        </pc:spChg>
        <pc:spChg chg="mod">
          <ac:chgData name="Matthias Scholer" userId="daad25a6-aca0-4d73-8528-03a468fe8ab9" providerId="ADAL" clId="{7D6CC86C-24F2-429D-A8D3-8BE9DF00DC96}" dt="2024-01-25T09:36:58.952" v="1350"/>
          <ac:spMkLst>
            <pc:docMk/>
            <pc:sldMk cId="1994411489" sldId="711"/>
            <ac:spMk id="29" creationId="{2890FC0A-E30A-5FFF-4772-7065A6C0C406}"/>
          </ac:spMkLst>
        </pc:spChg>
        <pc:spChg chg="mod">
          <ac:chgData name="Matthias Scholer" userId="daad25a6-aca0-4d73-8528-03a468fe8ab9" providerId="ADAL" clId="{7D6CC86C-24F2-429D-A8D3-8BE9DF00DC96}" dt="2024-01-25T09:36:58.952" v="1350"/>
          <ac:spMkLst>
            <pc:docMk/>
            <pc:sldMk cId="1994411489" sldId="711"/>
            <ac:spMk id="30" creationId="{9ADE97E9-248E-2398-F41D-1F07F1A2216E}"/>
          </ac:spMkLst>
        </pc:spChg>
        <pc:spChg chg="mod">
          <ac:chgData name="Matthias Scholer" userId="daad25a6-aca0-4d73-8528-03a468fe8ab9" providerId="ADAL" clId="{7D6CC86C-24F2-429D-A8D3-8BE9DF00DC96}" dt="2024-01-25T09:36:58.952" v="1350"/>
          <ac:spMkLst>
            <pc:docMk/>
            <pc:sldMk cId="1994411489" sldId="711"/>
            <ac:spMk id="31" creationId="{D05DCD12-DA5F-677E-1AB4-1C82B0216EC8}"/>
          </ac:spMkLst>
        </pc:spChg>
        <pc:spChg chg="mod">
          <ac:chgData name="Matthias Scholer" userId="daad25a6-aca0-4d73-8528-03a468fe8ab9" providerId="ADAL" clId="{7D6CC86C-24F2-429D-A8D3-8BE9DF00DC96}" dt="2024-01-25T09:36:58.952" v="1350"/>
          <ac:spMkLst>
            <pc:docMk/>
            <pc:sldMk cId="1994411489" sldId="711"/>
            <ac:spMk id="32" creationId="{5A5A21BD-2164-FE99-8A4E-FCB237575AAD}"/>
          </ac:spMkLst>
        </pc:spChg>
        <pc:spChg chg="mod">
          <ac:chgData name="Matthias Scholer" userId="daad25a6-aca0-4d73-8528-03a468fe8ab9" providerId="ADAL" clId="{7D6CC86C-24F2-429D-A8D3-8BE9DF00DC96}" dt="2024-01-25T09:36:58.952" v="1350"/>
          <ac:spMkLst>
            <pc:docMk/>
            <pc:sldMk cId="1994411489" sldId="711"/>
            <ac:spMk id="33" creationId="{A1679DB3-0520-56A1-15D2-63181B901608}"/>
          </ac:spMkLst>
        </pc:spChg>
        <pc:spChg chg="mod">
          <ac:chgData name="Matthias Scholer" userId="daad25a6-aca0-4d73-8528-03a468fe8ab9" providerId="ADAL" clId="{7D6CC86C-24F2-429D-A8D3-8BE9DF00DC96}" dt="2024-01-25T09:37:37.319" v="1357" actId="2711"/>
          <ac:spMkLst>
            <pc:docMk/>
            <pc:sldMk cId="1994411489" sldId="711"/>
            <ac:spMk id="36" creationId="{95A1B85A-99CA-3C20-8E1E-B880C8F91D67}"/>
          </ac:spMkLst>
        </pc:spChg>
        <pc:spChg chg="mod">
          <ac:chgData name="Matthias Scholer" userId="daad25a6-aca0-4d73-8528-03a468fe8ab9" providerId="ADAL" clId="{7D6CC86C-24F2-429D-A8D3-8BE9DF00DC96}" dt="2024-01-25T09:37:37.319" v="1357" actId="2711"/>
          <ac:spMkLst>
            <pc:docMk/>
            <pc:sldMk cId="1994411489" sldId="711"/>
            <ac:spMk id="37" creationId="{2CB31EE0-FA82-E85B-2E31-1366737FA904}"/>
          </ac:spMkLst>
        </pc:spChg>
        <pc:spChg chg="mod">
          <ac:chgData name="Matthias Scholer" userId="daad25a6-aca0-4d73-8528-03a468fe8ab9" providerId="ADAL" clId="{7D6CC86C-24F2-429D-A8D3-8BE9DF00DC96}" dt="2024-01-25T09:38:24.644" v="1374" actId="1038"/>
          <ac:spMkLst>
            <pc:docMk/>
            <pc:sldMk cId="1994411489" sldId="711"/>
            <ac:spMk id="38" creationId="{73FE2F2A-C17F-8951-F19A-19A6C2B4DB0E}"/>
          </ac:spMkLst>
        </pc:spChg>
        <pc:spChg chg="mod">
          <ac:chgData name="Matthias Scholer" userId="daad25a6-aca0-4d73-8528-03a468fe8ab9" providerId="ADAL" clId="{7D6CC86C-24F2-429D-A8D3-8BE9DF00DC96}" dt="2024-01-25T09:37:37.319" v="1357" actId="2711"/>
          <ac:spMkLst>
            <pc:docMk/>
            <pc:sldMk cId="1994411489" sldId="711"/>
            <ac:spMk id="39" creationId="{B4DE6DBE-0A6F-3C2A-E110-0914E96D33CC}"/>
          </ac:spMkLst>
        </pc:spChg>
        <pc:spChg chg="mod">
          <ac:chgData name="Matthias Scholer" userId="daad25a6-aca0-4d73-8528-03a468fe8ab9" providerId="ADAL" clId="{7D6CC86C-24F2-429D-A8D3-8BE9DF00DC96}" dt="2024-01-25T09:37:37.319" v="1357" actId="2711"/>
          <ac:spMkLst>
            <pc:docMk/>
            <pc:sldMk cId="1994411489" sldId="711"/>
            <ac:spMk id="40" creationId="{3137643C-80B2-E8BA-683B-13085387B9F8}"/>
          </ac:spMkLst>
        </pc:spChg>
        <pc:spChg chg="mod">
          <ac:chgData name="Matthias Scholer" userId="daad25a6-aca0-4d73-8528-03a468fe8ab9" providerId="ADAL" clId="{7D6CC86C-24F2-429D-A8D3-8BE9DF00DC96}" dt="2024-01-25T09:37:37.319" v="1357" actId="2711"/>
          <ac:spMkLst>
            <pc:docMk/>
            <pc:sldMk cId="1994411489" sldId="711"/>
            <ac:spMk id="41" creationId="{7A71C9DD-74E9-B462-96D9-11FA79BAFFDD}"/>
          </ac:spMkLst>
        </pc:spChg>
        <pc:spChg chg="mod">
          <ac:chgData name="Matthias Scholer" userId="daad25a6-aca0-4d73-8528-03a468fe8ab9" providerId="ADAL" clId="{7D6CC86C-24F2-429D-A8D3-8BE9DF00DC96}" dt="2024-01-25T09:38:16.763" v="1363" actId="255"/>
          <ac:spMkLst>
            <pc:docMk/>
            <pc:sldMk cId="1994411489" sldId="711"/>
            <ac:spMk id="42" creationId="{A55F6A7E-DF91-5B25-2BBB-7A908699DFF2}"/>
          </ac:spMkLst>
        </pc:spChg>
        <pc:spChg chg="mod">
          <ac:chgData name="Matthias Scholer" userId="daad25a6-aca0-4d73-8528-03a468fe8ab9" providerId="ADAL" clId="{7D6CC86C-24F2-429D-A8D3-8BE9DF00DC96}" dt="2024-01-25T09:38:16.763" v="1363" actId="255"/>
          <ac:spMkLst>
            <pc:docMk/>
            <pc:sldMk cId="1994411489" sldId="711"/>
            <ac:spMk id="43" creationId="{436ECD53-FDFB-164C-8CA9-1C322EB92C95}"/>
          </ac:spMkLst>
        </pc:spChg>
        <pc:spChg chg="mod">
          <ac:chgData name="Matthias Scholer" userId="daad25a6-aca0-4d73-8528-03a468fe8ab9" providerId="ADAL" clId="{7D6CC86C-24F2-429D-A8D3-8BE9DF00DC96}" dt="2024-01-25T09:38:16.763" v="1363" actId="255"/>
          <ac:spMkLst>
            <pc:docMk/>
            <pc:sldMk cId="1994411489" sldId="711"/>
            <ac:spMk id="44" creationId="{FB70EECC-0AB5-94EF-1BE5-E0CA657C1B42}"/>
          </ac:spMkLst>
        </pc:spChg>
        <pc:spChg chg="mod">
          <ac:chgData name="Matthias Scholer" userId="daad25a6-aca0-4d73-8528-03a468fe8ab9" providerId="ADAL" clId="{7D6CC86C-24F2-429D-A8D3-8BE9DF00DC96}" dt="2024-01-25T09:37:59.576" v="1360" actId="21"/>
          <ac:spMkLst>
            <pc:docMk/>
            <pc:sldMk cId="1994411489" sldId="711"/>
            <ac:spMk id="45" creationId="{A074720A-C83C-C017-272D-80F489F06F78}"/>
          </ac:spMkLst>
        </pc:spChg>
        <pc:spChg chg="mod">
          <ac:chgData name="Matthias Scholer" userId="daad25a6-aca0-4d73-8528-03a468fe8ab9" providerId="ADAL" clId="{7D6CC86C-24F2-429D-A8D3-8BE9DF00DC96}" dt="2024-01-25T09:37:37.319" v="1357" actId="2711"/>
          <ac:spMkLst>
            <pc:docMk/>
            <pc:sldMk cId="1994411489" sldId="711"/>
            <ac:spMk id="46" creationId="{E38E038C-419B-C9C0-C991-A63CD3AB8D71}"/>
          </ac:spMkLst>
        </pc:spChg>
        <pc:spChg chg="mod">
          <ac:chgData name="Matthias Scholer" userId="daad25a6-aca0-4d73-8528-03a468fe8ab9" providerId="ADAL" clId="{7D6CC86C-24F2-429D-A8D3-8BE9DF00DC96}" dt="2024-01-25T09:37:37.319" v="1357" actId="2711"/>
          <ac:spMkLst>
            <pc:docMk/>
            <pc:sldMk cId="1994411489" sldId="711"/>
            <ac:spMk id="47" creationId="{3864A73B-C060-FDAA-0CA8-C2676214C3B1}"/>
          </ac:spMkLst>
        </pc:spChg>
        <pc:spChg chg="mod">
          <ac:chgData name="Matthias Scholer" userId="daad25a6-aca0-4d73-8528-03a468fe8ab9" providerId="ADAL" clId="{7D6CC86C-24F2-429D-A8D3-8BE9DF00DC96}" dt="2024-01-25T09:37:37.319" v="1357" actId="2711"/>
          <ac:spMkLst>
            <pc:docMk/>
            <pc:sldMk cId="1994411489" sldId="711"/>
            <ac:spMk id="48" creationId="{6448FD49-4740-A16C-F098-64EF1D00F3E5}"/>
          </ac:spMkLst>
        </pc:spChg>
        <pc:spChg chg="mod">
          <ac:chgData name="Matthias Scholer" userId="daad25a6-aca0-4d73-8528-03a468fe8ab9" providerId="ADAL" clId="{7D6CC86C-24F2-429D-A8D3-8BE9DF00DC96}" dt="2024-01-25T09:37:37.319" v="1357" actId="2711"/>
          <ac:spMkLst>
            <pc:docMk/>
            <pc:sldMk cId="1994411489" sldId="711"/>
            <ac:spMk id="49" creationId="{42D393CD-A97A-AED7-3D39-DE0617860F60}"/>
          </ac:spMkLst>
        </pc:spChg>
        <pc:spChg chg="add mod">
          <ac:chgData name="Matthias Scholer" userId="daad25a6-aca0-4d73-8528-03a468fe8ab9" providerId="ADAL" clId="{7D6CC86C-24F2-429D-A8D3-8BE9DF00DC96}" dt="2024-01-25T09:38:05.137" v="1362" actId="1076"/>
          <ac:spMkLst>
            <pc:docMk/>
            <pc:sldMk cId="1994411489" sldId="711"/>
            <ac:spMk id="51" creationId="{4F6BF44B-5E03-48FA-0AFF-94B2DEFC49BB}"/>
          </ac:spMkLst>
        </pc:spChg>
        <pc:grpChg chg="add mod">
          <ac:chgData name="Matthias Scholer" userId="daad25a6-aca0-4d73-8528-03a468fe8ab9" providerId="ADAL" clId="{7D6CC86C-24F2-429D-A8D3-8BE9DF00DC96}" dt="2024-01-25T09:36:42.466" v="1348" actId="164"/>
          <ac:grpSpMkLst>
            <pc:docMk/>
            <pc:sldMk cId="1994411489" sldId="711"/>
            <ac:grpSpMk id="19" creationId="{5722B716-D4F5-A12F-4117-59F65931DA64}"/>
          </ac:grpSpMkLst>
        </pc:grpChg>
        <pc:grpChg chg="add del mod">
          <ac:chgData name="Matthias Scholer" userId="daad25a6-aca0-4d73-8528-03a468fe8ab9" providerId="ADAL" clId="{7D6CC86C-24F2-429D-A8D3-8BE9DF00DC96}" dt="2024-01-25T09:37:10.771" v="1353" actId="478"/>
          <ac:grpSpMkLst>
            <pc:docMk/>
            <pc:sldMk cId="1994411489" sldId="711"/>
            <ac:grpSpMk id="20" creationId="{12FECD86-F44A-25C8-94F0-E51F8365EDE1}"/>
          </ac:grpSpMkLst>
        </pc:grpChg>
        <pc:grpChg chg="add mod">
          <ac:chgData name="Matthias Scholer" userId="daad25a6-aca0-4d73-8528-03a468fe8ab9" providerId="ADAL" clId="{7D6CC86C-24F2-429D-A8D3-8BE9DF00DC96}" dt="2024-01-25T09:37:33.213" v="1356" actId="1076"/>
          <ac:grpSpMkLst>
            <pc:docMk/>
            <pc:sldMk cId="1994411489" sldId="711"/>
            <ac:grpSpMk id="34" creationId="{8C1A2DD6-F497-B2AA-5B02-1D0A436ABDA2}"/>
          </ac:grpSpMkLst>
        </pc:grpChg>
        <pc:grpChg chg="mod">
          <ac:chgData name="Matthias Scholer" userId="daad25a6-aca0-4d73-8528-03a468fe8ab9" providerId="ADAL" clId="{7D6CC86C-24F2-429D-A8D3-8BE9DF00DC96}" dt="2024-01-25T09:37:26.406" v="1354"/>
          <ac:grpSpMkLst>
            <pc:docMk/>
            <pc:sldMk cId="1994411489" sldId="711"/>
            <ac:grpSpMk id="35" creationId="{95AF1DD4-60EB-4183-346C-770E2FADD9B7}"/>
          </ac:grpSpMkLst>
        </pc:grpChg>
      </pc:sldChg>
      <pc:sldMasterChg chg="delSldLayout">
        <pc:chgData name="Matthias Scholer" userId="daad25a6-aca0-4d73-8528-03a468fe8ab9" providerId="ADAL" clId="{7D6CC86C-24F2-429D-A8D3-8BE9DF00DC96}" dt="2024-01-23T14:07:24.375" v="912" actId="47"/>
        <pc:sldMasterMkLst>
          <pc:docMk/>
          <pc:sldMasterMk cId="4006175236" sldId="2147483708"/>
        </pc:sldMasterMkLst>
        <pc:sldLayoutChg chg="del">
          <pc:chgData name="Matthias Scholer" userId="daad25a6-aca0-4d73-8528-03a468fe8ab9" providerId="ADAL" clId="{7D6CC86C-24F2-429D-A8D3-8BE9DF00DC96}" dt="2024-01-23T14:07:24.375" v="912" actId="47"/>
          <pc:sldLayoutMkLst>
            <pc:docMk/>
            <pc:sldMasterMk cId="4006175236" sldId="2147483708"/>
            <pc:sldLayoutMk cId="3111479801" sldId="2147483738"/>
          </pc:sldLayoutMkLst>
        </pc:sldLayoutChg>
        <pc:sldLayoutChg chg="del">
          <pc:chgData name="Matthias Scholer" userId="daad25a6-aca0-4d73-8528-03a468fe8ab9" providerId="ADAL" clId="{7D6CC86C-24F2-429D-A8D3-8BE9DF00DC96}" dt="2024-01-23T14:02:08.546" v="808" actId="47"/>
          <pc:sldLayoutMkLst>
            <pc:docMk/>
            <pc:sldMasterMk cId="4006175236" sldId="2147483708"/>
            <pc:sldLayoutMk cId="1799252605" sldId="214748374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2220" cy="4964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5947" y="0"/>
            <a:ext cx="2942220" cy="496491"/>
          </a:xfrm>
          <a:prstGeom prst="rect">
            <a:avLst/>
          </a:prstGeom>
        </p:spPr>
        <p:txBody>
          <a:bodyPr vert="horz" lIns="91440" tIns="45720" rIns="91440" bIns="45720" rtlCol="0"/>
          <a:lstStyle>
            <a:lvl1pPr algn="r">
              <a:defRPr sz="1200"/>
            </a:lvl1pPr>
          </a:lstStyle>
          <a:p>
            <a:fld id="{3E1B8F0C-9838-430E-97D2-E5487A2FE125}" type="datetimeFigureOut">
              <a:rPr lang="de-DE" smtClean="0"/>
              <a:t>15.04.2024</a:t>
            </a:fld>
            <a:endParaRPr lang="de-DE"/>
          </a:p>
        </p:txBody>
      </p:sp>
      <p:sp>
        <p:nvSpPr>
          <p:cNvPr id="4" name="Folienbildplatzhalter 3"/>
          <p:cNvSpPr>
            <a:spLocks noGrp="1" noRot="1" noChangeAspect="1"/>
          </p:cNvSpPr>
          <p:nvPr>
            <p:ph type="sldImg" idx="2"/>
          </p:nvPr>
        </p:nvSpPr>
        <p:spPr>
          <a:xfrm>
            <a:off x="85725" y="744538"/>
            <a:ext cx="6618288"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8974" y="4716661"/>
            <a:ext cx="5431790" cy="4468416"/>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1599"/>
            <a:ext cx="2942220" cy="49649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5947" y="9431599"/>
            <a:ext cx="2942220" cy="496491"/>
          </a:xfrm>
          <a:prstGeom prst="rect">
            <a:avLst/>
          </a:prstGeom>
        </p:spPr>
        <p:txBody>
          <a:bodyPr vert="horz" lIns="91440" tIns="45720" rIns="91440" bIns="45720" rtlCol="0" anchor="b"/>
          <a:lstStyle>
            <a:lvl1pPr algn="r">
              <a:defRPr sz="1200"/>
            </a:lvl1pPr>
          </a:lstStyle>
          <a:p>
            <a:fld id="{A1E9FB91-55F4-46ED-9C57-D9BAE92FFF18}" type="slidenum">
              <a:rPr lang="de-DE" smtClean="0"/>
              <a:t>‹Nr.›</a:t>
            </a:fld>
            <a:endParaRPr lang="de-DE"/>
          </a:p>
        </p:txBody>
      </p:sp>
    </p:spTree>
    <p:extLst>
      <p:ext uri="{BB962C8B-B14F-4D97-AF65-F5344CB8AC3E}">
        <p14:creationId xmlns:p14="http://schemas.microsoft.com/office/powerpoint/2010/main" val="2841871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725" y="744538"/>
            <a:ext cx="6618288" cy="3724275"/>
          </a:xfrm>
        </p:spPr>
      </p:sp>
      <p:sp>
        <p:nvSpPr>
          <p:cNvPr id="3" name="Notizenplatzhalter 2"/>
          <p:cNvSpPr>
            <a:spLocks noGrp="1"/>
          </p:cNvSpPr>
          <p:nvPr>
            <p:ph type="body" idx="1"/>
          </p:nvPr>
        </p:nvSpPr>
        <p:spPr/>
        <p:txBody>
          <a:bodyPr/>
          <a:lstStyle/>
          <a:p>
            <a:r>
              <a:rPr lang="de-DE" dirty="0" err="1"/>
              <a:t>Safety</a:t>
            </a:r>
            <a:r>
              <a:rPr lang="de-DE" dirty="0"/>
              <a:t> in </a:t>
            </a:r>
            <a:r>
              <a:rPr lang="de-DE" dirty="0" err="1"/>
              <a:t>Kap6</a:t>
            </a:r>
            <a:r>
              <a:rPr lang="de-DE" dirty="0"/>
              <a:t> (funktionale Sicherheit Schutz vor techn. System, z.B. Not Aus, Risiko (Schadenwahr. X Ausmaß),</a:t>
            </a:r>
            <a:r>
              <a:rPr lang="de-DE" baseline="0" dirty="0"/>
              <a:t> PFD =&gt; SIL Level Berechnung</a:t>
            </a:r>
            <a:r>
              <a:rPr lang="de-DE" dirty="0"/>
              <a:t>)</a:t>
            </a:r>
          </a:p>
          <a:p>
            <a:endParaRPr lang="de-DE" dirty="0"/>
          </a:p>
          <a:p>
            <a:r>
              <a:rPr lang="de-DE" dirty="0"/>
              <a:t>Anlagen immer komplexer,</a:t>
            </a:r>
            <a:r>
              <a:rPr lang="de-DE" baseline="0" dirty="0"/>
              <a:t> </a:t>
            </a:r>
            <a:r>
              <a:rPr lang="de-DE" baseline="0" dirty="0" err="1"/>
              <a:t>Ethernetbasierte</a:t>
            </a:r>
            <a:r>
              <a:rPr lang="de-DE" baseline="0" dirty="0"/>
              <a:t> Vernetzung (</a:t>
            </a:r>
            <a:r>
              <a:rPr lang="de-DE" baseline="0" dirty="0" err="1"/>
              <a:t>I4.0</a:t>
            </a:r>
            <a:r>
              <a:rPr lang="de-DE" baseline="0" dirty="0"/>
              <a:t>), =&gt; Schnittstellen, die missbraucht werden können =&gt; Schutz des Systems vor Menschen</a:t>
            </a:r>
          </a:p>
          <a:p>
            <a:endParaRPr lang="de-DE" baseline="0" dirty="0"/>
          </a:p>
          <a:p>
            <a:pPr marL="171450" indent="-171450">
              <a:buFont typeface="Symbol" panose="05050102010706020507" pitchFamily="18" charset="2"/>
              <a:buChar char="Þ"/>
            </a:pPr>
            <a:r>
              <a:rPr lang="de-DE" baseline="0" dirty="0"/>
              <a:t>Ganzheitliche Sicherheit nur mit Zusammenspiel von </a:t>
            </a:r>
            <a:r>
              <a:rPr lang="de-DE" baseline="0" dirty="0" err="1"/>
              <a:t>Safety</a:t>
            </a:r>
            <a:r>
              <a:rPr lang="de-DE" baseline="0" dirty="0"/>
              <a:t> und Security (Angriffssicherheit)</a:t>
            </a:r>
          </a:p>
          <a:p>
            <a:pPr marL="171450" indent="-171450">
              <a:buFont typeface="Symbol" panose="05050102010706020507" pitchFamily="18" charset="2"/>
              <a:buChar char="Þ"/>
            </a:pPr>
            <a:endParaRPr lang="de-DE" baseline="0" dirty="0"/>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CH" dirty="0"/>
              <a:t>Quelle Dissertation «Sicherheit in der Mensch-Roboter-Interaktion durch einen biofidelen Bewertungsansatz»</a:t>
            </a:r>
          </a:p>
          <a:p>
            <a:pPr marL="0" indent="0">
              <a:buFont typeface="Symbol" panose="05050102010706020507" pitchFamily="18" charset="2"/>
              <a:buNone/>
            </a:pPr>
            <a:endParaRPr lang="de-DE" dirty="0"/>
          </a:p>
        </p:txBody>
      </p:sp>
      <p:sp>
        <p:nvSpPr>
          <p:cNvPr id="4" name="Foliennummernplatzhalter 3"/>
          <p:cNvSpPr>
            <a:spLocks noGrp="1"/>
          </p:cNvSpPr>
          <p:nvPr>
            <p:ph type="sldNum" sz="quarter" idx="10"/>
          </p:nvPr>
        </p:nvSpPr>
        <p:spPr/>
        <p:txBody>
          <a:bodyPr/>
          <a:lstStyle/>
          <a:p>
            <a:pPr>
              <a:defRPr/>
            </a:pPr>
            <a:fld id="{9C411F04-9E12-4B7B-8BD6-6F39E3E0DCC1}" type="slidenum">
              <a:rPr lang="de-DE" smtClean="0"/>
              <a:pPr>
                <a:defRPr/>
              </a:pPr>
              <a:t>5</a:t>
            </a:fld>
            <a:endParaRPr lang="de-DE"/>
          </a:p>
        </p:txBody>
      </p:sp>
    </p:spTree>
    <p:extLst>
      <p:ext uri="{BB962C8B-B14F-4D97-AF65-F5344CB8AC3E}">
        <p14:creationId xmlns:p14="http://schemas.microsoft.com/office/powerpoint/2010/main" val="1931122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B83A123A-A22A-41A4-9F78-F3E115BF2D1A}" type="slidenum">
              <a:rPr lang="de-DE" altLang="de-DE" smtClean="0"/>
              <a:pPr eaLnBrk="1" hangingPunct="1">
                <a:spcBef>
                  <a:spcPct val="0"/>
                </a:spcBef>
              </a:pPr>
              <a:t>28</a:t>
            </a:fld>
            <a:endParaRPr lang="de-DE" altLang="de-DE"/>
          </a:p>
        </p:txBody>
      </p:sp>
      <p:sp>
        <p:nvSpPr>
          <p:cNvPr id="107523" name="Rectangle 2"/>
          <p:cNvSpPr>
            <a:spLocks noGrp="1" noRot="1" noChangeAspect="1" noChangeArrowheads="1" noTextEdit="1"/>
          </p:cNvSpPr>
          <p:nvPr>
            <p:ph type="sldImg"/>
          </p:nvPr>
        </p:nvSpPr>
        <p:spPr>
          <a:xfrm>
            <a:off x="85725" y="744538"/>
            <a:ext cx="6618288" cy="3724275"/>
          </a:xfrm>
          <a:ln/>
        </p:spPr>
      </p:sp>
      <p:sp>
        <p:nvSpPr>
          <p:cNvPr id="107524" name="Rectangle 3"/>
          <p:cNvSpPr>
            <a:spLocks noGrp="1" noChangeArrowheads="1"/>
          </p:cNvSpPr>
          <p:nvPr>
            <p:ph type="body" idx="1"/>
          </p:nvPr>
        </p:nvSpPr>
        <p:spPr>
          <a:noFill/>
        </p:spPr>
        <p:txBody>
          <a:bodyPr/>
          <a:lstStyle/>
          <a:p>
            <a:pPr eaLnBrk="1" hangingPunct="1"/>
            <a:r>
              <a:rPr lang="de-DE" altLang="de-DE" dirty="0"/>
              <a:t>Nicht-trennende Schutzeinrichtungen sind insbesondere bei einer Mensch-Roboter-Kooperation sinnvoll, wenn sich Mensch und Maschinen gleichzeitig einen Arbeitsraum teilen. Prototypisch wurde eine Montagezelle für </a:t>
            </a:r>
            <a:r>
              <a:rPr lang="de-DE" altLang="de-DE" dirty="0" err="1"/>
              <a:t>Hinterachsausgleichsgetriebe</a:t>
            </a:r>
            <a:r>
              <a:rPr lang="de-DE" altLang="de-DE" dirty="0"/>
              <a:t> realisiert. Mit Hilfe des Assistenzroboters lassen sich die Nebenzeiten reduzieren. </a:t>
            </a:r>
          </a:p>
          <a:p>
            <a:pPr eaLnBrk="1" hangingPunct="1"/>
            <a:r>
              <a:rPr lang="de-DE" altLang="de-DE" dirty="0"/>
              <a:t>Der Roboter greift das Getriebe aus einer Kiste und transportiert es zur Fügestelle. Anschließend positioniert der Werker das Getriebe auf den letzten Zentimetern, indem er den Roboter über Kraft-Momenten-Sensorik führt. Für eine sichere Position der Hände während der Bedienung werden zwei „</a:t>
            </a:r>
            <a:r>
              <a:rPr lang="de-DE" altLang="de-DE" dirty="0" err="1"/>
              <a:t>Safeballs</a:t>
            </a:r>
            <a:r>
              <a:rPr lang="de-DE" altLang="de-DE" dirty="0"/>
              <a:t>“ (zweikanalige </a:t>
            </a:r>
            <a:r>
              <a:rPr lang="de-DE" altLang="de-DE" dirty="0" err="1"/>
              <a:t>Zustimmschalter</a:t>
            </a:r>
            <a:r>
              <a:rPr lang="de-DE" altLang="de-DE" dirty="0"/>
              <a:t>) ergonomisch günstig und weit außerhalb des Quetschbereichs positioniert. Weiterhin wurden ein Not-Aus-Schalter und Schalter zur Ablaufsteuerung des Roboters angebracht. Die Steuerkonsole lässt eine intuitive Bedienung und aufgrund der ergonomischen Anordnung auch eine einfachere Steuerung zu. Laserscanner am Boden und zwei Lichtschranken (virtuelle Wände) überwachen den Gefahrenbereich. Eine direkte Verbindung mit der Robotersteuerung gewährleistet eine schnelle Abschaltung bei Verletzung der Gefahrenbereiche.</a:t>
            </a:r>
          </a:p>
          <a:p>
            <a:pPr eaLnBrk="1" hangingPunct="1"/>
            <a:r>
              <a:rPr lang="de-DE" altLang="de-DE" dirty="0"/>
              <a:t>in Anlehnung an:</a:t>
            </a:r>
          </a:p>
          <a:p>
            <a:pPr eaLnBrk="1" hangingPunct="1"/>
            <a:r>
              <a:rPr lang="de-DE" altLang="de-DE" dirty="0" err="1"/>
              <a:t>Assistor</a:t>
            </a:r>
            <a:r>
              <a:rPr lang="de-DE" altLang="de-DE" dirty="0"/>
              <a:t>: Assistierende, interaktive und sicher im industriellen Umfeld agierende ortsflexible Roboter. Abschlussbericht BMBF-Projekt, Stuttgart, 2006</a:t>
            </a:r>
          </a:p>
        </p:txBody>
      </p:sp>
      <p:sp>
        <p:nvSpPr>
          <p:cNvPr id="107525" name="Textfeld 7"/>
          <p:cNvSpPr txBox="1">
            <a:spLocks noChangeArrowheads="1"/>
          </p:cNvSpPr>
          <p:nvPr/>
        </p:nvSpPr>
        <p:spPr bwMode="auto">
          <a:xfrm>
            <a:off x="7427915" y="-30161"/>
            <a:ext cx="2445064" cy="649623"/>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696" tIns="47350" rIns="94696" bIns="47350">
            <a:spAutoFit/>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r>
              <a:rPr lang="de-DE" altLang="de-DE"/>
              <a:t>Beispiel:</a:t>
            </a:r>
          </a:p>
          <a:p>
            <a:pPr eaLnBrk="1" hangingPunct="1">
              <a:spcBef>
                <a:spcPct val="0"/>
              </a:spcBef>
            </a:pPr>
            <a:r>
              <a:rPr lang="de-DE" altLang="de-DE"/>
              <a:t>Buchbinderei</a:t>
            </a:r>
          </a:p>
          <a:p>
            <a:pPr eaLnBrk="1" hangingPunct="1">
              <a:spcBef>
                <a:spcPct val="0"/>
              </a:spcBef>
            </a:pPr>
            <a:r>
              <a:rPr lang="de-DE" altLang="de-DE"/>
              <a:t>Lichtvorhang + Zweihandschalter</a:t>
            </a:r>
          </a:p>
        </p:txBody>
      </p:sp>
    </p:spTree>
    <p:extLst>
      <p:ext uri="{BB962C8B-B14F-4D97-AF65-F5344CB8AC3E}">
        <p14:creationId xmlns:p14="http://schemas.microsoft.com/office/powerpoint/2010/main" val="2985916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Quelle: </a:t>
            </a:r>
            <a:r>
              <a:rPr lang="de-CH" b="0" i="0" dirty="0">
                <a:solidFill>
                  <a:srgbClr val="333333"/>
                </a:solidFill>
                <a:effectLst/>
                <a:latin typeface="Georgia" panose="02040502050405020303" pitchFamily="18" charset="0"/>
              </a:rPr>
              <a:t>Sensoren in Wissenschaft und Technik</a:t>
            </a:r>
          </a:p>
          <a:p>
            <a:endParaRPr lang="de-CH" dirty="0"/>
          </a:p>
        </p:txBody>
      </p:sp>
      <p:sp>
        <p:nvSpPr>
          <p:cNvPr id="4" name="Foliennummernplatzhalter 3"/>
          <p:cNvSpPr>
            <a:spLocks noGrp="1"/>
          </p:cNvSpPr>
          <p:nvPr>
            <p:ph type="sldNum" sz="quarter" idx="5"/>
          </p:nvPr>
        </p:nvSpPr>
        <p:spPr/>
        <p:txBody>
          <a:bodyPr/>
          <a:lstStyle/>
          <a:p>
            <a:fld id="{A1E9FB91-55F4-46ED-9C57-D9BAE92FFF18}" type="slidenum">
              <a:rPr lang="de-DE" smtClean="0"/>
              <a:t>29</a:t>
            </a:fld>
            <a:endParaRPr lang="de-DE"/>
          </a:p>
        </p:txBody>
      </p:sp>
    </p:spTree>
    <p:extLst>
      <p:ext uri="{BB962C8B-B14F-4D97-AF65-F5344CB8AC3E}">
        <p14:creationId xmlns:p14="http://schemas.microsoft.com/office/powerpoint/2010/main" val="34500498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CC41D87-F75E-4CC1-AB6C-184DEC88FE51}" type="slidenum">
              <a:rPr lang="de-DE" altLang="de-DE" smtClean="0"/>
              <a:pPr eaLnBrk="1" hangingPunct="1">
                <a:spcBef>
                  <a:spcPct val="0"/>
                </a:spcBef>
              </a:pPr>
              <a:t>30</a:t>
            </a:fld>
            <a:endParaRPr lang="de-DE" altLang="de-DE"/>
          </a:p>
        </p:txBody>
      </p:sp>
      <p:sp>
        <p:nvSpPr>
          <p:cNvPr id="110595" name="Rectangle 2"/>
          <p:cNvSpPr>
            <a:spLocks noGrp="1" noRot="1" noChangeAspect="1" noChangeArrowheads="1" noTextEdit="1"/>
          </p:cNvSpPr>
          <p:nvPr>
            <p:ph type="sldImg"/>
          </p:nvPr>
        </p:nvSpPr>
        <p:spPr>
          <a:xfrm>
            <a:off x="85725" y="744538"/>
            <a:ext cx="6618288" cy="3724275"/>
          </a:xfrm>
          <a:ln/>
        </p:spPr>
      </p:sp>
      <p:sp>
        <p:nvSpPr>
          <p:cNvPr id="110596" name="Rectangle 3"/>
          <p:cNvSpPr>
            <a:spLocks noGrp="1" noChangeArrowheads="1"/>
          </p:cNvSpPr>
          <p:nvPr>
            <p:ph type="body" idx="1"/>
          </p:nvPr>
        </p:nvSpPr>
        <p:spPr>
          <a:noFill/>
        </p:spPr>
        <p:txBody>
          <a:bodyPr/>
          <a:lstStyle/>
          <a:p>
            <a:pPr eaLnBrk="1" hangingPunct="1"/>
            <a:r>
              <a:rPr lang="de-DE" altLang="de-DE" dirty="0"/>
              <a:t>Laserscanner können eine Verletzung der Schutzbereiche über die Laufzeitmessung eines Laserstrahls erkennen. Der Laserstrahl wird über einen rotierenden Spiegel abgelenkt und deckt somit eine Ebene ab. Über die Laufzeit des Laserstrahls und den Winkel kann die Position von Umgebungsobjekten bestimmt werden. In einer Konfigurationssoftware werden Felder für abgestufte Warnzustände eingerichtet. Wird ein Objekt innerhalb der Felder detektiert, wird ein binäres Signal gesetzt und z.B. Abbremsen, Stillstand oder Not-Aus ausgelöst.</a:t>
            </a:r>
          </a:p>
          <a:p>
            <a:pPr eaLnBrk="1" hangingPunct="1"/>
            <a:endParaRPr lang="de-DE" altLang="de-DE" dirty="0"/>
          </a:p>
          <a:p>
            <a:pPr eaLnBrk="1" hangingPunct="1"/>
            <a:endParaRPr lang="de-DE" altLang="de-DE" dirty="0"/>
          </a:p>
        </p:txBody>
      </p:sp>
    </p:spTree>
    <p:extLst>
      <p:ext uri="{BB962C8B-B14F-4D97-AF65-F5344CB8AC3E}">
        <p14:creationId xmlns:p14="http://schemas.microsoft.com/office/powerpoint/2010/main" val="3844107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C392414-D832-EB4D-A3A9-67B0F14CFB44}" type="slidenum">
              <a:rPr lang="de-DE" smtClean="0"/>
              <a:t>31</a:t>
            </a:fld>
            <a:endParaRPr lang="de-DE"/>
          </a:p>
        </p:txBody>
      </p:sp>
    </p:spTree>
    <p:extLst>
      <p:ext uri="{BB962C8B-B14F-4D97-AF65-F5344CB8AC3E}">
        <p14:creationId xmlns:p14="http://schemas.microsoft.com/office/powerpoint/2010/main" val="37946879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32</a:t>
            </a:fld>
            <a:endParaRPr lang="de-DE" dirty="0"/>
          </a:p>
        </p:txBody>
      </p:sp>
    </p:spTree>
    <p:extLst>
      <p:ext uri="{BB962C8B-B14F-4D97-AF65-F5344CB8AC3E}">
        <p14:creationId xmlns:p14="http://schemas.microsoft.com/office/powerpoint/2010/main" val="2074207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19113" y="246063"/>
            <a:ext cx="7783513" cy="437991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CDDC143-C2C3-4B9E-9BB2-189822E813C6}" type="slidenum">
              <a:rPr lang="de-DE" smtClean="0"/>
              <a:pPr>
                <a:defRPr/>
              </a:pPr>
              <a:t>33</a:t>
            </a:fld>
            <a:endParaRPr lang="de-DE" dirty="0"/>
          </a:p>
        </p:txBody>
      </p:sp>
    </p:spTree>
    <p:extLst>
      <p:ext uri="{BB962C8B-B14F-4D97-AF65-F5344CB8AC3E}">
        <p14:creationId xmlns:p14="http://schemas.microsoft.com/office/powerpoint/2010/main" val="3141926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34</a:t>
            </a:fld>
            <a:endParaRPr lang="de-DE" dirty="0"/>
          </a:p>
        </p:txBody>
      </p:sp>
    </p:spTree>
    <p:extLst>
      <p:ext uri="{BB962C8B-B14F-4D97-AF65-F5344CB8AC3E}">
        <p14:creationId xmlns:p14="http://schemas.microsoft.com/office/powerpoint/2010/main" val="29941471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19113" y="246063"/>
            <a:ext cx="7783513" cy="437991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CDDC143-C2C3-4B9E-9BB2-189822E813C6}" type="slidenum">
              <a:rPr lang="de-DE" smtClean="0"/>
              <a:pPr>
                <a:defRPr/>
              </a:pPr>
              <a:t>35</a:t>
            </a:fld>
            <a:endParaRPr lang="de-DE" dirty="0"/>
          </a:p>
        </p:txBody>
      </p:sp>
    </p:spTree>
    <p:extLst>
      <p:ext uri="{BB962C8B-B14F-4D97-AF65-F5344CB8AC3E}">
        <p14:creationId xmlns:p14="http://schemas.microsoft.com/office/powerpoint/2010/main" val="610516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36</a:t>
            </a:fld>
            <a:endParaRPr lang="de-DE" dirty="0"/>
          </a:p>
        </p:txBody>
      </p:sp>
    </p:spTree>
    <p:extLst>
      <p:ext uri="{BB962C8B-B14F-4D97-AF65-F5344CB8AC3E}">
        <p14:creationId xmlns:p14="http://schemas.microsoft.com/office/powerpoint/2010/main" val="2182089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38</a:t>
            </a:fld>
            <a:endParaRPr lang="de-DE" dirty="0"/>
          </a:p>
        </p:txBody>
      </p:sp>
    </p:spTree>
    <p:extLst>
      <p:ext uri="{BB962C8B-B14F-4D97-AF65-F5344CB8AC3E}">
        <p14:creationId xmlns:p14="http://schemas.microsoft.com/office/powerpoint/2010/main" val="1918763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6</a:t>
            </a:fld>
            <a:endParaRPr lang="de-DE" dirty="0"/>
          </a:p>
        </p:txBody>
      </p:sp>
    </p:spTree>
    <p:extLst>
      <p:ext uri="{BB962C8B-B14F-4D97-AF65-F5344CB8AC3E}">
        <p14:creationId xmlns:p14="http://schemas.microsoft.com/office/powerpoint/2010/main" val="3167733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39</a:t>
            </a:fld>
            <a:endParaRPr lang="de-DE" dirty="0"/>
          </a:p>
        </p:txBody>
      </p:sp>
    </p:spTree>
    <p:extLst>
      <p:ext uri="{BB962C8B-B14F-4D97-AF65-F5344CB8AC3E}">
        <p14:creationId xmlns:p14="http://schemas.microsoft.com/office/powerpoint/2010/main" val="40352825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0</a:t>
            </a:fld>
            <a:endParaRPr lang="de-DE" dirty="0"/>
          </a:p>
        </p:txBody>
      </p:sp>
    </p:spTree>
    <p:extLst>
      <p:ext uri="{BB962C8B-B14F-4D97-AF65-F5344CB8AC3E}">
        <p14:creationId xmlns:p14="http://schemas.microsoft.com/office/powerpoint/2010/main" val="17597040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1</a:t>
            </a:fld>
            <a:endParaRPr lang="de-DE" dirty="0"/>
          </a:p>
        </p:txBody>
      </p:sp>
    </p:spTree>
    <p:extLst>
      <p:ext uri="{BB962C8B-B14F-4D97-AF65-F5344CB8AC3E}">
        <p14:creationId xmlns:p14="http://schemas.microsoft.com/office/powerpoint/2010/main" val="3225063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2</a:t>
            </a:fld>
            <a:endParaRPr lang="de-DE" dirty="0"/>
          </a:p>
        </p:txBody>
      </p:sp>
    </p:spTree>
    <p:extLst>
      <p:ext uri="{BB962C8B-B14F-4D97-AF65-F5344CB8AC3E}">
        <p14:creationId xmlns:p14="http://schemas.microsoft.com/office/powerpoint/2010/main" val="3078805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3</a:t>
            </a:fld>
            <a:endParaRPr lang="de-DE" dirty="0"/>
          </a:p>
        </p:txBody>
      </p:sp>
    </p:spTree>
    <p:extLst>
      <p:ext uri="{BB962C8B-B14F-4D97-AF65-F5344CB8AC3E}">
        <p14:creationId xmlns:p14="http://schemas.microsoft.com/office/powerpoint/2010/main" val="482400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4</a:t>
            </a:fld>
            <a:endParaRPr lang="de-DE" dirty="0"/>
          </a:p>
        </p:txBody>
      </p:sp>
    </p:spTree>
    <p:extLst>
      <p:ext uri="{BB962C8B-B14F-4D97-AF65-F5344CB8AC3E}">
        <p14:creationId xmlns:p14="http://schemas.microsoft.com/office/powerpoint/2010/main" val="3912173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5</a:t>
            </a:fld>
            <a:endParaRPr lang="de-DE" dirty="0"/>
          </a:p>
        </p:txBody>
      </p:sp>
    </p:spTree>
    <p:extLst>
      <p:ext uri="{BB962C8B-B14F-4D97-AF65-F5344CB8AC3E}">
        <p14:creationId xmlns:p14="http://schemas.microsoft.com/office/powerpoint/2010/main" val="37446312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6</a:t>
            </a:fld>
            <a:endParaRPr lang="de-DE" dirty="0"/>
          </a:p>
        </p:txBody>
      </p:sp>
    </p:spTree>
    <p:extLst>
      <p:ext uri="{BB962C8B-B14F-4D97-AF65-F5344CB8AC3E}">
        <p14:creationId xmlns:p14="http://schemas.microsoft.com/office/powerpoint/2010/main" val="21786246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7</a:t>
            </a:fld>
            <a:endParaRPr lang="de-DE" dirty="0"/>
          </a:p>
        </p:txBody>
      </p:sp>
    </p:spTree>
    <p:extLst>
      <p:ext uri="{BB962C8B-B14F-4D97-AF65-F5344CB8AC3E}">
        <p14:creationId xmlns:p14="http://schemas.microsoft.com/office/powerpoint/2010/main" val="6704094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8</a:t>
            </a:fld>
            <a:endParaRPr lang="de-DE" dirty="0"/>
          </a:p>
        </p:txBody>
      </p:sp>
    </p:spTree>
    <p:extLst>
      <p:ext uri="{BB962C8B-B14F-4D97-AF65-F5344CB8AC3E}">
        <p14:creationId xmlns:p14="http://schemas.microsoft.com/office/powerpoint/2010/main" val="373731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pPr/>
              <a:t>7</a:t>
            </a:fld>
            <a:endParaRPr lang="de-DE" dirty="0"/>
          </a:p>
        </p:txBody>
      </p:sp>
    </p:spTree>
    <p:extLst>
      <p:ext uri="{BB962C8B-B14F-4D97-AF65-F5344CB8AC3E}">
        <p14:creationId xmlns:p14="http://schemas.microsoft.com/office/powerpoint/2010/main" val="26099283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19113" y="246063"/>
            <a:ext cx="7783513" cy="4379912"/>
          </a:xfrm>
        </p:spPr>
      </p:sp>
      <p:sp>
        <p:nvSpPr>
          <p:cNvPr id="3" name="Notizenplatzhalter 2"/>
          <p:cNvSpPr>
            <a:spLocks noGrp="1"/>
          </p:cNvSpPr>
          <p:nvPr>
            <p:ph type="body" idx="1"/>
          </p:nvPr>
        </p:nvSpPr>
        <p:spPr/>
        <p:txBody>
          <a:bodyPr/>
          <a:lstStyle/>
          <a:p>
            <a:pPr algn="just" defTabSz="914023">
              <a:defRPr/>
            </a:pPr>
            <a:endParaRPr lang="de-DE" dirty="0"/>
          </a:p>
        </p:txBody>
      </p:sp>
      <p:sp>
        <p:nvSpPr>
          <p:cNvPr id="4" name="Foliennummernplatzhalter 3"/>
          <p:cNvSpPr>
            <a:spLocks noGrp="1"/>
          </p:cNvSpPr>
          <p:nvPr>
            <p:ph type="sldNum" sz="quarter" idx="10"/>
          </p:nvPr>
        </p:nvSpPr>
        <p:spPr/>
        <p:txBody>
          <a:bodyPr/>
          <a:lstStyle/>
          <a:p>
            <a:fld id="{A1E9FB91-55F4-46ED-9C57-D9BAE92FFF18}" type="slidenum">
              <a:rPr lang="de-DE" smtClean="0"/>
              <a:t>49</a:t>
            </a:fld>
            <a:endParaRPr lang="de-DE" dirty="0"/>
          </a:p>
        </p:txBody>
      </p:sp>
    </p:spTree>
    <p:extLst>
      <p:ext uri="{BB962C8B-B14F-4D97-AF65-F5344CB8AC3E}">
        <p14:creationId xmlns:p14="http://schemas.microsoft.com/office/powerpoint/2010/main" val="456691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C392414-D832-EB4D-A3A9-67B0F14CFB44}" type="slidenum">
              <a:rPr lang="de-DE" smtClean="0"/>
              <a:t>51</a:t>
            </a:fld>
            <a:endParaRPr lang="de-DE"/>
          </a:p>
        </p:txBody>
      </p:sp>
    </p:spTree>
    <p:extLst>
      <p:ext uri="{BB962C8B-B14F-4D97-AF65-F5344CB8AC3E}">
        <p14:creationId xmlns:p14="http://schemas.microsoft.com/office/powerpoint/2010/main" val="41254282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725" y="744538"/>
            <a:ext cx="6618288" cy="3724275"/>
          </a:xfrm>
        </p:spPr>
      </p:sp>
      <p:sp>
        <p:nvSpPr>
          <p:cNvPr id="3" name="Notizenplatzhalter 2"/>
          <p:cNvSpPr>
            <a:spLocks noGrp="1"/>
          </p:cNvSpPr>
          <p:nvPr>
            <p:ph type="body" idx="1"/>
          </p:nvPr>
        </p:nvSpPr>
        <p:spPr/>
        <p:txBody>
          <a:bodyPr/>
          <a:lstStyle/>
          <a:p>
            <a:r>
              <a:rPr lang="de-DE" dirty="0"/>
              <a:t>Große Rolle in den Nachrichten in jüngster Zeit. Paar Angriffe schauen wir uns gleich noch an, Angriffe auf Öl- und Gasindustrie</a:t>
            </a:r>
          </a:p>
          <a:p>
            <a:endParaRPr lang="de-DE" dirty="0"/>
          </a:p>
          <a:p>
            <a:r>
              <a:rPr lang="de-DE" dirty="0"/>
              <a:t>2 von 5 im Industrieumfeld eingesetzte</a:t>
            </a:r>
            <a:r>
              <a:rPr lang="de-DE" baseline="0" dirty="0"/>
              <a:t> Computer von Cyberattacken betroffen</a:t>
            </a:r>
          </a:p>
          <a:p>
            <a:endParaRPr lang="de-DE" baseline="0" dirty="0"/>
          </a:p>
          <a:p>
            <a:r>
              <a:rPr lang="de-DE" baseline="0" dirty="0"/>
              <a:t>Oben rechts zeigt Anteil der attackierten Industriesteuerungen (0 bis 71%, Asien besonders stark, aber auch Europa mit 24%)</a:t>
            </a:r>
          </a:p>
          <a:p>
            <a:endParaRPr lang="de-DE" baseline="0" dirty="0"/>
          </a:p>
          <a:p>
            <a:r>
              <a:rPr lang="de-DE" baseline="0" dirty="0"/>
              <a:t>Gängigsten Angriffe klar über das Internet oft nicht sauber konfiguriert, Wechseldatenträger, E-Mail Clients (kennt jeder jeden Tag Phishing Attacken)</a:t>
            </a:r>
          </a:p>
          <a:p>
            <a:endParaRPr lang="de-DE" baseline="0" dirty="0"/>
          </a:p>
          <a:p>
            <a:r>
              <a:rPr lang="de-DE" baseline="0" dirty="0"/>
              <a:t>Automobilbeispiel schauen wir uns zunächst genauer an </a:t>
            </a:r>
            <a:endParaRPr lang="de-DE" dirty="0"/>
          </a:p>
        </p:txBody>
      </p:sp>
      <p:sp>
        <p:nvSpPr>
          <p:cNvPr id="4" name="Foliennummernplatzhalter 3"/>
          <p:cNvSpPr>
            <a:spLocks noGrp="1"/>
          </p:cNvSpPr>
          <p:nvPr>
            <p:ph type="sldNum" sz="quarter" idx="10"/>
          </p:nvPr>
        </p:nvSpPr>
        <p:spPr/>
        <p:txBody>
          <a:bodyPr/>
          <a:lstStyle/>
          <a:p>
            <a:pPr>
              <a:defRPr/>
            </a:pPr>
            <a:fld id="{9C411F04-9E12-4B7B-8BD6-6F39E3E0DCC1}" type="slidenum">
              <a:rPr lang="de-DE" smtClean="0"/>
              <a:pPr>
                <a:defRPr/>
              </a:pPr>
              <a:t>53</a:t>
            </a:fld>
            <a:endParaRPr lang="de-DE"/>
          </a:p>
        </p:txBody>
      </p:sp>
    </p:spTree>
    <p:extLst>
      <p:ext uri="{BB962C8B-B14F-4D97-AF65-F5344CB8AC3E}">
        <p14:creationId xmlns:p14="http://schemas.microsoft.com/office/powerpoint/2010/main" val="15997769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725" y="744538"/>
            <a:ext cx="6618288" cy="3724275"/>
          </a:xfrm>
        </p:spPr>
      </p:sp>
      <p:sp>
        <p:nvSpPr>
          <p:cNvPr id="3" name="Notizenplatzhalter 2"/>
          <p:cNvSpPr>
            <a:spLocks noGrp="1"/>
          </p:cNvSpPr>
          <p:nvPr>
            <p:ph type="body" idx="1"/>
          </p:nvPr>
        </p:nvSpPr>
        <p:spPr/>
        <p:txBody>
          <a:bodyPr/>
          <a:lstStyle/>
          <a:p>
            <a:r>
              <a:rPr lang="de-DE" baseline="0" dirty="0"/>
              <a:t>Auf Platz 1 steht demnach Social Engineering und Phishing. Das kennt jeder von zahlreichen E-Mails die er jeden Tag bekommt. Zum Beispiel um seinen Account bei Amazon, </a:t>
            </a:r>
            <a:r>
              <a:rPr lang="de-DE" baseline="0" dirty="0" err="1"/>
              <a:t>Paypal</a:t>
            </a:r>
            <a:r>
              <a:rPr lang="de-DE" baseline="0" dirty="0"/>
              <a:t> oder wo auch immer zu verifizieren. Die einen sind besser gemacht und die anderen schlechter. </a:t>
            </a:r>
          </a:p>
          <a:p>
            <a:r>
              <a:rPr lang="de-DE" baseline="0" dirty="0"/>
              <a:t>An zweiter Stelle steht das Einschleusen von Schadsoftware über Wechseldatenträger, wie es auch bei </a:t>
            </a:r>
            <a:r>
              <a:rPr lang="de-DE" baseline="0" dirty="0" err="1"/>
              <a:t>Stuxnet</a:t>
            </a:r>
            <a:r>
              <a:rPr lang="de-DE" baseline="0" dirty="0"/>
              <a:t> der Fall war. Intensiviert wird das ganze noch durch immer mehr Smartphones, die an USB Ports geladen werden, aber eventuell kompromittiert sind.</a:t>
            </a:r>
          </a:p>
          <a:p>
            <a:r>
              <a:rPr lang="de-DE" baseline="0" dirty="0"/>
              <a:t>3. Punkt sind die Infektionen mit Schadsoftware (Malware) über das Internet oder auch Intranet, denn mittlerweile können beispielsweise die Entwicklung mit der Produktion digital verbunden sein, um direkt Änderungen an Produkten vorzunehmen. Dies bedeutet jedoch eine Gefahr der Infektion aus dem Intranet. Und aus dem Internet sowieso. Insbesondere wenn Komponenten direkt ans Netz angebunden sind. Auch dazu werden wir noch ein Beispiel sehen.</a:t>
            </a:r>
          </a:p>
          <a:p>
            <a:r>
              <a:rPr lang="de-DE" baseline="0" dirty="0"/>
              <a:t>Technisches Fehlverhalten oder auch menschliches Fehlversagen ist natürlich auch ein Punkt. Vor kurzem hatten wir die Warnung vor einer Rakete auf Hawaii (Anfang 2018) weil ein Mensch sich bei einem Dropdown Menü verdrückt hatte (Es gab wohl nur Testwarnung oder Warnung zur Auswahl =&gt; Warnung an jedes registrierte Handy auf Hawaii mit dem Hinweise keine Übung). Auch das ist nicht auszuschließen, sollte aber so schwer wie möglich gemacht werden. Des Weiteren nimmt die Nutzung von Cloud Aktivitäten zu. Zum Beispiel dass die Steuerung in der Cloud ausgeführt wird. Auch dort gibt es wieder Angriffspunkte. Ein weitere häufig stattfindende Attacke sind (D)DOS Attacken. Also (Distributed)Denial of Service Attacken um Anlagen bzw. Server außer Gefecht zu setzen. Im Folgenden schauen wir uns Phishing, Wechseldatenträger, Fernwartung und DOS Angriffe etwas genauer an.</a:t>
            </a:r>
            <a:endParaRPr lang="de-DE" dirty="0"/>
          </a:p>
        </p:txBody>
      </p:sp>
      <p:sp>
        <p:nvSpPr>
          <p:cNvPr id="4" name="Foliennummernplatzhalter 3"/>
          <p:cNvSpPr>
            <a:spLocks noGrp="1"/>
          </p:cNvSpPr>
          <p:nvPr>
            <p:ph type="sldNum" sz="quarter" idx="10"/>
          </p:nvPr>
        </p:nvSpPr>
        <p:spPr/>
        <p:txBody>
          <a:bodyPr/>
          <a:lstStyle/>
          <a:p>
            <a:pPr>
              <a:defRPr/>
            </a:pPr>
            <a:fld id="{9C411F04-9E12-4B7B-8BD6-6F39E3E0DCC1}" type="slidenum">
              <a:rPr lang="de-DE" smtClean="0"/>
              <a:pPr>
                <a:defRPr/>
              </a:pPr>
              <a:t>54</a:t>
            </a:fld>
            <a:endParaRPr lang="de-DE"/>
          </a:p>
        </p:txBody>
      </p:sp>
    </p:spTree>
    <p:extLst>
      <p:ext uri="{BB962C8B-B14F-4D97-AF65-F5344CB8AC3E}">
        <p14:creationId xmlns:p14="http://schemas.microsoft.com/office/powerpoint/2010/main" val="27612770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725" y="744538"/>
            <a:ext cx="6618288" cy="3724275"/>
          </a:xfrm>
        </p:spPr>
      </p:sp>
      <p:sp>
        <p:nvSpPr>
          <p:cNvPr id="3" name="Notizenplatzhalter 2"/>
          <p:cNvSpPr>
            <a:spLocks noGrp="1"/>
          </p:cNvSpPr>
          <p:nvPr>
            <p:ph type="body" idx="1"/>
          </p:nvPr>
        </p:nvSpPr>
        <p:spPr/>
        <p:txBody>
          <a:bodyPr/>
          <a:lstStyle/>
          <a:p>
            <a:r>
              <a:rPr lang="de-DE" dirty="0"/>
              <a:t>Schaut man sich die drei klassischen Security</a:t>
            </a:r>
            <a:r>
              <a:rPr lang="de-DE" baseline="0" dirty="0"/>
              <a:t> Ziele an, kann man eine Reihenfolge für die Priorität festlegen, die auch später in der Norm IEC 62443 so angenommen wird. Vertraulichkeit spielt zwar eine Rolle, aber eher untergeordnet. Logischerweise ist auch Industriespionage ein großes Problem. Allerdings kommt es dort weniger zu Schäden für Mensch und Umwelt. Das sieht im Fall Integritätsverlust anders aus, da in diesem Fall Anlagen beispielsweise manipuliert werden können und große Schäden verursachen. Der allerwichtigste Punkt im Bereich ICS ist aber die Verfügbarkeit. Die Anlagen und auch Schutzeinrichtungen sollen möglichst zu jedem Zeitpunkt einsatzbereit sein. Im Office Bereich wäre die Priorität genau anders herum anzusetzen.</a:t>
            </a:r>
          </a:p>
          <a:p>
            <a:r>
              <a:rPr lang="de-DE" baseline="0" dirty="0"/>
              <a:t>Neben diesen klassischen Hauptzielen gibt es noch weitere untergeordnete Ziele:</a:t>
            </a:r>
          </a:p>
          <a:p>
            <a:pPr marL="171450" indent="-171450">
              <a:buFontTx/>
              <a:buChar char="-"/>
            </a:pPr>
            <a:r>
              <a:rPr lang="de-DE" baseline="0" dirty="0"/>
              <a:t>Authentizität: eindeutige Identifizierbarkeit von Personen und Systemen oder auch der Herkunft von Daten</a:t>
            </a:r>
          </a:p>
          <a:p>
            <a:pPr marL="171450" indent="-171450">
              <a:buFontTx/>
              <a:buChar char="-"/>
            </a:pPr>
            <a:r>
              <a:rPr lang="de-DE" baseline="0" dirty="0"/>
              <a:t>Überprüfbarkeit: eindeutige Nachvollziehbarkeit von Aktionen bis zum Ursprung   </a:t>
            </a:r>
            <a:endParaRPr lang="de-DE" dirty="0"/>
          </a:p>
        </p:txBody>
      </p:sp>
      <p:sp>
        <p:nvSpPr>
          <p:cNvPr id="4" name="Foliennummernplatzhalter 3"/>
          <p:cNvSpPr>
            <a:spLocks noGrp="1"/>
          </p:cNvSpPr>
          <p:nvPr>
            <p:ph type="sldNum" sz="quarter" idx="10"/>
          </p:nvPr>
        </p:nvSpPr>
        <p:spPr/>
        <p:txBody>
          <a:bodyPr/>
          <a:lstStyle/>
          <a:p>
            <a:pPr>
              <a:defRPr/>
            </a:pPr>
            <a:fld id="{9C411F04-9E12-4B7B-8BD6-6F39E3E0DCC1}" type="slidenum">
              <a:rPr lang="de-DE" smtClean="0"/>
              <a:pPr>
                <a:defRPr/>
              </a:pPr>
              <a:t>55</a:t>
            </a:fld>
            <a:endParaRPr lang="de-DE"/>
          </a:p>
        </p:txBody>
      </p:sp>
    </p:spTree>
    <p:extLst>
      <p:ext uri="{BB962C8B-B14F-4D97-AF65-F5344CB8AC3E}">
        <p14:creationId xmlns:p14="http://schemas.microsoft.com/office/powerpoint/2010/main" val="3088846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Quelle Dissertation «Sicherheit in der Mensch-Roboter-Interaktion durch einen biofidelen Bewertungsansatz»</a:t>
            </a:r>
          </a:p>
          <a:p>
            <a:endParaRPr lang="de-CH" dirty="0"/>
          </a:p>
        </p:txBody>
      </p:sp>
      <p:sp>
        <p:nvSpPr>
          <p:cNvPr id="4" name="Foliennummernplatzhalter 3"/>
          <p:cNvSpPr>
            <a:spLocks noGrp="1"/>
          </p:cNvSpPr>
          <p:nvPr>
            <p:ph type="sldNum" sz="quarter" idx="5"/>
          </p:nvPr>
        </p:nvSpPr>
        <p:spPr/>
        <p:txBody>
          <a:bodyPr/>
          <a:lstStyle/>
          <a:p>
            <a:fld id="{A1E9FB91-55F4-46ED-9C57-D9BAE92FFF18}" type="slidenum">
              <a:rPr lang="de-DE" smtClean="0"/>
              <a:t>8</a:t>
            </a:fld>
            <a:endParaRPr lang="de-DE"/>
          </a:p>
        </p:txBody>
      </p:sp>
    </p:spTree>
    <p:extLst>
      <p:ext uri="{BB962C8B-B14F-4D97-AF65-F5344CB8AC3E}">
        <p14:creationId xmlns:p14="http://schemas.microsoft.com/office/powerpoint/2010/main" val="1825914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C690F3CF-27FE-488B-9779-3BFCE75FFE94}" type="slidenum">
              <a:rPr lang="de-DE" altLang="de-DE" smtClean="0"/>
              <a:pPr eaLnBrk="1" hangingPunct="1">
                <a:spcBef>
                  <a:spcPct val="0"/>
                </a:spcBef>
              </a:pPr>
              <a:t>15</a:t>
            </a:fld>
            <a:endParaRPr lang="de-DE" altLang="de-DE"/>
          </a:p>
        </p:txBody>
      </p:sp>
      <p:sp>
        <p:nvSpPr>
          <p:cNvPr id="102403" name="Rectangle 2"/>
          <p:cNvSpPr>
            <a:spLocks noGrp="1" noRot="1" noChangeAspect="1" noChangeArrowheads="1" noTextEdit="1"/>
          </p:cNvSpPr>
          <p:nvPr>
            <p:ph type="sldImg"/>
          </p:nvPr>
        </p:nvSpPr>
        <p:spPr>
          <a:xfrm>
            <a:off x="85725" y="744538"/>
            <a:ext cx="6618288" cy="3724275"/>
          </a:xfrm>
          <a:ln/>
        </p:spPr>
      </p:sp>
      <p:sp>
        <p:nvSpPr>
          <p:cNvPr id="102404" name="Rectangle 3"/>
          <p:cNvSpPr>
            <a:spLocks noGrp="1" noChangeArrowheads="1"/>
          </p:cNvSpPr>
          <p:nvPr>
            <p:ph type="body" idx="1"/>
          </p:nvPr>
        </p:nvSpPr>
        <p:spPr>
          <a:noFill/>
        </p:spPr>
        <p:txBody>
          <a:bodyPr/>
          <a:lstStyle/>
          <a:p>
            <a:pPr eaLnBrk="1" hangingPunct="1">
              <a:lnSpc>
                <a:spcPct val="90000"/>
              </a:lnSpc>
              <a:tabLst>
                <a:tab pos="280851" algn="l"/>
              </a:tabLst>
            </a:pPr>
            <a:r>
              <a:rPr lang="de-DE" altLang="de-DE" dirty="0"/>
              <a:t>Die von einer Maschine ausgehende Gefährdung kann mittels eines Risikografen abgeschätzt werden. Hierzu werden die Kriterien „Schwere der Verletzung“, „Häufigkeit/Dauer der Gefährdung“ und „Präventionsmöglichkeiten“ jeweils bewertet und der Risikograph von links nach rechts durchlaufen. Daraus ergibt sich ein Performance Level (PL), der i.d.R. mindestens „d“ betragen muss. Um dies zu erreichen, sind ggf. zusätzliche Schutzmaßnahmen erforderlich.</a:t>
            </a:r>
          </a:p>
          <a:p>
            <a:pPr eaLnBrk="1" hangingPunct="1">
              <a:lnSpc>
                <a:spcPct val="90000"/>
              </a:lnSpc>
              <a:tabLst>
                <a:tab pos="280851" algn="l"/>
              </a:tabLst>
            </a:pPr>
            <a:endParaRPr lang="de-DE" altLang="de-DE" dirty="0"/>
          </a:p>
          <a:p>
            <a:pPr eaLnBrk="1" hangingPunct="1">
              <a:lnSpc>
                <a:spcPct val="90000"/>
              </a:lnSpc>
              <a:tabLst>
                <a:tab pos="280851" algn="l"/>
              </a:tabLst>
            </a:pPr>
            <a:r>
              <a:rPr lang="de-DE" altLang="de-DE" dirty="0"/>
              <a:t>S: Schwere der Verletzung</a:t>
            </a:r>
          </a:p>
          <a:p>
            <a:pPr eaLnBrk="1" hangingPunct="1">
              <a:lnSpc>
                <a:spcPct val="90000"/>
              </a:lnSpc>
              <a:tabLst>
                <a:tab pos="280851" algn="l"/>
              </a:tabLst>
            </a:pPr>
            <a:r>
              <a:rPr lang="de-DE" altLang="de-DE" dirty="0"/>
              <a:t>S1: leichte, üblicherweise reversible Verletzung</a:t>
            </a:r>
          </a:p>
          <a:p>
            <a:pPr eaLnBrk="1" hangingPunct="1">
              <a:lnSpc>
                <a:spcPct val="90000"/>
              </a:lnSpc>
              <a:tabLst>
                <a:tab pos="280851" algn="l"/>
              </a:tabLst>
            </a:pPr>
            <a:r>
              <a:rPr lang="de-DE" altLang="de-DE" dirty="0"/>
              <a:t>S2: ernste, üblicherweise irreversible Verletzung</a:t>
            </a:r>
          </a:p>
          <a:p>
            <a:pPr eaLnBrk="1" hangingPunct="1">
              <a:lnSpc>
                <a:spcPct val="90000"/>
              </a:lnSpc>
              <a:tabLst>
                <a:tab pos="280851" algn="l"/>
              </a:tabLst>
            </a:pPr>
            <a:endParaRPr lang="de-DE" altLang="de-DE" dirty="0"/>
          </a:p>
          <a:p>
            <a:pPr eaLnBrk="1" hangingPunct="1">
              <a:lnSpc>
                <a:spcPct val="90000"/>
              </a:lnSpc>
              <a:tabLst>
                <a:tab pos="280851" algn="l"/>
              </a:tabLst>
            </a:pPr>
            <a:r>
              <a:rPr lang="de-DE" altLang="de-DE" dirty="0"/>
              <a:t>F: Häufigkeit und/oder Dauer der Gefährdungsexposition</a:t>
            </a:r>
          </a:p>
          <a:p>
            <a:pPr eaLnBrk="1" hangingPunct="1">
              <a:lnSpc>
                <a:spcPct val="90000"/>
              </a:lnSpc>
              <a:tabLst>
                <a:tab pos="280851" algn="l"/>
              </a:tabLst>
            </a:pPr>
            <a:r>
              <a:rPr lang="de-DE" altLang="de-DE" dirty="0"/>
              <a:t>F1: selten bis weniger häufig und/oder die Zeit der Gefährdungsexposition ist kurz</a:t>
            </a:r>
          </a:p>
          <a:p>
            <a:pPr eaLnBrk="1" hangingPunct="1">
              <a:lnSpc>
                <a:spcPct val="90000"/>
              </a:lnSpc>
              <a:tabLst>
                <a:tab pos="280851" algn="l"/>
              </a:tabLst>
            </a:pPr>
            <a:r>
              <a:rPr lang="de-DE" altLang="de-DE" dirty="0"/>
              <a:t>F2: häufig bis dauernd und/oder die Zeit der Gefährdungsexposition ist lang</a:t>
            </a:r>
          </a:p>
          <a:p>
            <a:pPr eaLnBrk="1" hangingPunct="1">
              <a:lnSpc>
                <a:spcPct val="90000"/>
              </a:lnSpc>
              <a:tabLst>
                <a:tab pos="280851" algn="l"/>
              </a:tabLst>
            </a:pPr>
            <a:endParaRPr lang="de-DE" altLang="de-DE" dirty="0"/>
          </a:p>
          <a:p>
            <a:pPr eaLnBrk="1" hangingPunct="1">
              <a:lnSpc>
                <a:spcPct val="90000"/>
              </a:lnSpc>
              <a:tabLst>
                <a:tab pos="280851" algn="l"/>
              </a:tabLst>
            </a:pPr>
            <a:r>
              <a:rPr lang="de-DE" altLang="de-DE" dirty="0"/>
              <a:t>P: Möglichkeit zur Vermeidung der Gefährdung oder Begrenzung des Schadens</a:t>
            </a:r>
          </a:p>
          <a:p>
            <a:pPr eaLnBrk="1" hangingPunct="1">
              <a:lnSpc>
                <a:spcPct val="90000"/>
              </a:lnSpc>
              <a:tabLst>
                <a:tab pos="280851" algn="l"/>
              </a:tabLst>
            </a:pPr>
            <a:r>
              <a:rPr lang="de-DE" altLang="de-DE" dirty="0"/>
              <a:t>P1: möglich unter bestimmten Bedingungen</a:t>
            </a:r>
          </a:p>
          <a:p>
            <a:pPr eaLnBrk="1" hangingPunct="1">
              <a:lnSpc>
                <a:spcPct val="90000"/>
              </a:lnSpc>
              <a:tabLst>
                <a:tab pos="280851" algn="l"/>
              </a:tabLst>
            </a:pPr>
            <a:r>
              <a:rPr lang="de-DE" altLang="de-DE" dirty="0"/>
              <a:t>P2: kaum möglich</a:t>
            </a:r>
          </a:p>
        </p:txBody>
      </p:sp>
      <p:sp>
        <p:nvSpPr>
          <p:cNvPr id="102405" name="Textfeld 7"/>
          <p:cNvSpPr txBox="1">
            <a:spLocks noChangeArrowheads="1"/>
          </p:cNvSpPr>
          <p:nvPr/>
        </p:nvSpPr>
        <p:spPr bwMode="auto">
          <a:xfrm>
            <a:off x="7232653" y="2274892"/>
            <a:ext cx="2437049" cy="280291"/>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696" tIns="47350" rIns="94696" bIns="47350">
            <a:spAutoFit/>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r>
              <a:rPr lang="de-DE" altLang="de-DE"/>
              <a:t>Beispiel Lasten heben</a:t>
            </a:r>
            <a:r>
              <a:rPr lang="de-DE" altLang="de-DE">
                <a:sym typeface="Wingdings" pitchFamily="2" charset="2"/>
              </a:rPr>
              <a:t> Spirallift</a:t>
            </a:r>
            <a:endParaRPr lang="de-DE" altLang="de-DE"/>
          </a:p>
        </p:txBody>
      </p:sp>
    </p:spTree>
    <p:extLst>
      <p:ext uri="{BB962C8B-B14F-4D97-AF65-F5344CB8AC3E}">
        <p14:creationId xmlns:p14="http://schemas.microsoft.com/office/powerpoint/2010/main" val="2836258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552E0860-8A54-4819-B5BA-13459FD57964}" type="slidenum">
              <a:rPr lang="de-DE" altLang="de-DE" smtClean="0"/>
              <a:pPr eaLnBrk="1" hangingPunct="1">
                <a:spcBef>
                  <a:spcPct val="0"/>
                </a:spcBef>
              </a:pPr>
              <a:t>24</a:t>
            </a:fld>
            <a:endParaRPr lang="de-DE" altLang="de-DE"/>
          </a:p>
        </p:txBody>
      </p:sp>
      <p:sp>
        <p:nvSpPr>
          <p:cNvPr id="104451" name="Rectangle 2"/>
          <p:cNvSpPr>
            <a:spLocks noGrp="1" noRot="1" noChangeAspect="1" noChangeArrowheads="1" noTextEdit="1"/>
          </p:cNvSpPr>
          <p:nvPr>
            <p:ph type="sldImg"/>
          </p:nvPr>
        </p:nvSpPr>
        <p:spPr>
          <a:xfrm>
            <a:off x="85725" y="744538"/>
            <a:ext cx="6618288" cy="3724275"/>
          </a:xfrm>
          <a:ln/>
        </p:spPr>
      </p:sp>
      <p:sp>
        <p:nvSpPr>
          <p:cNvPr id="104452" name="Rectangle 3"/>
          <p:cNvSpPr>
            <a:spLocks noGrp="1" noChangeArrowheads="1"/>
          </p:cNvSpPr>
          <p:nvPr>
            <p:ph type="body" idx="1"/>
          </p:nvPr>
        </p:nvSpPr>
        <p:spPr>
          <a:noFill/>
        </p:spPr>
        <p:txBody>
          <a:bodyPr/>
          <a:lstStyle/>
          <a:p>
            <a:pPr marL="84098" indent="-84098" eaLnBrk="1" hangingPunct="1"/>
            <a:r>
              <a:rPr lang="de-DE" altLang="de-DE" sz="1100" dirty="0"/>
              <a:t>	Um die Sicherheit einer Maschine/Anlage zu gewährleisten, wurden eine Reihe von Schutzeinrichtungen entwickelt, die sich in „trennende“ und „nicht-trennende“ Systeme gliedern lassen.</a:t>
            </a:r>
          </a:p>
          <a:p>
            <a:pPr marL="84098" indent="-84098" eaLnBrk="1" hangingPunct="1"/>
            <a:r>
              <a:rPr lang="de-DE" altLang="de-DE" sz="1100" dirty="0"/>
              <a:t>Weitere Unterteilung:</a:t>
            </a:r>
          </a:p>
          <a:p>
            <a:pPr marL="84098" indent="-84098" eaLnBrk="1" hangingPunct="1"/>
            <a:r>
              <a:rPr lang="de-DE" altLang="de-DE" sz="1100" dirty="0"/>
              <a:t>trennend</a:t>
            </a:r>
          </a:p>
          <a:p>
            <a:pPr marL="84098" indent="-84098" eaLnBrk="1" hangingPunct="1">
              <a:buFontTx/>
              <a:buChar char="•"/>
            </a:pPr>
            <a:r>
              <a:rPr lang="de-DE" altLang="de-DE" sz="1100" dirty="0"/>
              <a:t>feststehend: das Hindernis zwischen Mensch und Maschine ist widerstandsfähig und dauerhaft vorhanden, z.B. Zäune</a:t>
            </a:r>
          </a:p>
          <a:p>
            <a:pPr marL="84098" indent="-84098" eaLnBrk="1" hangingPunct="1">
              <a:buFontTx/>
              <a:buChar char="•"/>
            </a:pPr>
            <a:r>
              <a:rPr lang="de-DE" altLang="de-DE" sz="1100" dirty="0"/>
              <a:t>beweglich: gleiche Anforderungen wie ‚feststehend‘, zusätzlich noch beweglich, z.B. Schwenk- oder Schiebetüre mit Verriegelungseinrichtung</a:t>
            </a:r>
          </a:p>
          <a:p>
            <a:pPr marL="84098" indent="-84098" eaLnBrk="1" hangingPunct="1"/>
            <a:endParaRPr lang="de-DE" altLang="de-DE" sz="1100" dirty="0"/>
          </a:p>
          <a:p>
            <a:pPr marL="84098" indent="-84098" eaLnBrk="1" hangingPunct="1"/>
            <a:r>
              <a:rPr lang="de-DE" altLang="de-DE" sz="1100" dirty="0"/>
              <a:t>nicht trennend; ausreichend bemessene Sicherheitsabstände sind Grundvoraussetzung für die Wirksamkeit der Schutzeinrichtung</a:t>
            </a:r>
          </a:p>
          <a:p>
            <a:pPr marL="84098" indent="-84098" eaLnBrk="1" hangingPunct="1">
              <a:buFontTx/>
              <a:buChar char="•"/>
            </a:pPr>
            <a:r>
              <a:rPr lang="de-DE" altLang="de-DE" sz="1100" dirty="0"/>
              <a:t>berührend: die Restenergie des Aufpralls muss aufgefangen werden, z.B. durch Schaltmatten, -platten, -leisten, -puffer</a:t>
            </a:r>
          </a:p>
          <a:p>
            <a:pPr marL="84098" indent="-84098" eaLnBrk="1" hangingPunct="1">
              <a:buFontTx/>
              <a:buChar char="•"/>
            </a:pPr>
            <a:r>
              <a:rPr lang="de-DE" altLang="de-DE" sz="1100" dirty="0"/>
              <a:t>berührungslos: Lichtschranken, Lichtscanner, Ultraschallsensor</a:t>
            </a:r>
          </a:p>
          <a:p>
            <a:pPr marL="84098" indent="-84098" eaLnBrk="1" hangingPunct="1">
              <a:buFontTx/>
              <a:buChar char="•"/>
            </a:pPr>
            <a:r>
              <a:rPr lang="de-DE" altLang="de-DE" sz="1100" dirty="0"/>
              <a:t>mit Ortsbindung für Normalbetrieb, z.B. Zweihandschaltungen oder Tippschalter außerhalb des Gefahrenbereichs, z.B. an Pressen oder Schneidtischen</a:t>
            </a:r>
          </a:p>
          <a:p>
            <a:pPr marL="84098" indent="-84098" eaLnBrk="1" hangingPunct="1">
              <a:buFontTx/>
              <a:buChar char="•"/>
            </a:pPr>
            <a:r>
              <a:rPr lang="de-DE" altLang="de-DE" sz="1100" dirty="0"/>
              <a:t>ohne Ortsbindung für Sonderbetrieb, z.B. </a:t>
            </a:r>
            <a:r>
              <a:rPr lang="de-DE" altLang="de-DE" sz="1100" dirty="0" err="1"/>
              <a:t>Zustimmeinrichtungen</a:t>
            </a:r>
            <a:r>
              <a:rPr lang="de-DE" altLang="de-DE" sz="1100" dirty="0"/>
              <a:t> oder Totmannschalter</a:t>
            </a:r>
          </a:p>
          <a:p>
            <a:pPr marL="84098" indent="-84098" eaLnBrk="1" hangingPunct="1"/>
            <a:endParaRPr lang="de-DE" altLang="de-DE" sz="1000" dirty="0"/>
          </a:p>
          <a:p>
            <a:pPr marL="84098" indent="-84098" eaLnBrk="1" hangingPunct="1"/>
            <a:r>
              <a:rPr lang="de-DE" altLang="de-DE" sz="900" dirty="0"/>
              <a:t>in Anlehnung an:</a:t>
            </a:r>
          </a:p>
          <a:p>
            <a:pPr marL="84098" indent="-84098" eaLnBrk="1" hangingPunct="1"/>
            <a:r>
              <a:rPr lang="de-DE" altLang="de-DE" sz="900" dirty="0"/>
              <a:t>Institut für Arbeitsschutz der Deutschen Gesetzlichen Unfallversicherung (BGIA), Juli 2006</a:t>
            </a:r>
          </a:p>
        </p:txBody>
      </p:sp>
    </p:spTree>
    <p:extLst>
      <p:ext uri="{BB962C8B-B14F-4D97-AF65-F5344CB8AC3E}">
        <p14:creationId xmlns:p14="http://schemas.microsoft.com/office/powerpoint/2010/main" val="2337110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87299D82-4AC4-4AC8-8248-1EA3F0C92123}" type="slidenum">
              <a:rPr lang="de-DE" altLang="de-DE" smtClean="0"/>
              <a:pPr eaLnBrk="1" hangingPunct="1">
                <a:spcBef>
                  <a:spcPct val="0"/>
                </a:spcBef>
              </a:pPr>
              <a:t>25</a:t>
            </a:fld>
            <a:endParaRPr lang="de-DE" altLang="de-DE"/>
          </a:p>
        </p:txBody>
      </p:sp>
      <p:sp>
        <p:nvSpPr>
          <p:cNvPr id="100355" name="Rectangle 2"/>
          <p:cNvSpPr>
            <a:spLocks noGrp="1" noRot="1" noChangeAspect="1" noChangeArrowheads="1" noTextEdit="1"/>
          </p:cNvSpPr>
          <p:nvPr>
            <p:ph type="sldImg"/>
          </p:nvPr>
        </p:nvSpPr>
        <p:spPr>
          <a:xfrm>
            <a:off x="138113" y="763588"/>
            <a:ext cx="6824662" cy="3840162"/>
          </a:xfrm>
          <a:ln/>
        </p:spPr>
      </p:sp>
      <p:sp>
        <p:nvSpPr>
          <p:cNvPr id="100356" name="Rectangle 3"/>
          <p:cNvSpPr>
            <a:spLocks noGrp="1" noChangeArrowheads="1"/>
          </p:cNvSpPr>
          <p:nvPr>
            <p:ph type="body" idx="1"/>
          </p:nvPr>
        </p:nvSpPr>
        <p:spPr>
          <a:noFill/>
        </p:spPr>
        <p:txBody>
          <a:bodyPr/>
          <a:lstStyle/>
          <a:p>
            <a:pPr eaLnBrk="1" hangingPunct="1"/>
            <a:r>
              <a:rPr lang="de-DE" altLang="de-DE" dirty="0"/>
              <a:t>Um ein Montagesystem vollständig abzusichern, sind u.U. eine Vielzahl von Sicherheitseinrichtungen erforderlich. So sollten z.B. an mehreren Stellen der Anlage </a:t>
            </a:r>
            <a:r>
              <a:rPr lang="de-DE" altLang="de-DE" b="1" dirty="0"/>
              <a:t>Not-Halt-Schalter</a:t>
            </a:r>
            <a:r>
              <a:rPr lang="de-DE" altLang="de-DE" dirty="0"/>
              <a:t> angebracht werden, um die Maschine bei Gefahr sofort anzuhalten.</a:t>
            </a:r>
          </a:p>
          <a:p>
            <a:pPr eaLnBrk="1" hangingPunct="1"/>
            <a:r>
              <a:rPr lang="de-DE" altLang="de-DE" b="1" dirty="0"/>
              <a:t>Zaunsysteme</a:t>
            </a:r>
            <a:r>
              <a:rPr lang="de-DE" altLang="de-DE" dirty="0"/>
              <a:t> verhindern den Zutritt von Unbefugten. Durch </a:t>
            </a:r>
            <a:r>
              <a:rPr lang="de-DE" altLang="de-DE" b="1" dirty="0"/>
              <a:t>Türen</a:t>
            </a:r>
            <a:r>
              <a:rPr lang="de-DE" altLang="de-DE" dirty="0"/>
              <a:t> kann die Zelle für unregelmäßige Tätigkeiten, z.B. für die Wartung, betreten werden. Für zyklische Tätigkeiten, z.B. zum Bestücken der Anlage mit Material, werden meist </a:t>
            </a:r>
            <a:r>
              <a:rPr lang="de-DE" altLang="de-DE" b="1" dirty="0"/>
              <a:t>Rolltore</a:t>
            </a:r>
            <a:r>
              <a:rPr lang="de-DE" altLang="de-DE" dirty="0"/>
              <a:t> verwendet, die von der Steuerung automatisch geöffnet und geschlossen werden. Über eine </a:t>
            </a:r>
            <a:r>
              <a:rPr lang="de-DE" altLang="de-DE" b="1" dirty="0"/>
              <a:t>elektromagnetische Zuhaltung</a:t>
            </a:r>
            <a:r>
              <a:rPr lang="de-DE" altLang="de-DE" dirty="0"/>
              <a:t> oder </a:t>
            </a:r>
            <a:r>
              <a:rPr lang="de-DE" altLang="de-DE" b="1" dirty="0"/>
              <a:t>Sicherheitszuhaltungen</a:t>
            </a:r>
            <a:r>
              <a:rPr lang="de-DE" altLang="de-DE" dirty="0"/>
              <a:t> wird sichergestellt, dass die Türen während des gesamten Prozesses geschlossen bleiben. </a:t>
            </a:r>
            <a:r>
              <a:rPr lang="de-DE" altLang="de-DE" b="1" dirty="0"/>
              <a:t>Schaltleisten</a:t>
            </a:r>
            <a:r>
              <a:rPr lang="de-DE" altLang="de-DE" dirty="0"/>
              <a:t> am Rolltor schützen den Werker vor Quetschungen. Daneben können Zugänge oder Eingabebereiche auch über </a:t>
            </a:r>
            <a:r>
              <a:rPr lang="de-DE" altLang="de-DE" b="1" dirty="0"/>
              <a:t>Lichtschranken und -vorhänge</a:t>
            </a:r>
            <a:r>
              <a:rPr lang="de-DE" altLang="de-DE" dirty="0"/>
              <a:t>, die auch kleinere Körperteile (Finger ec.) erfassen, gesichert werden.</a:t>
            </a:r>
          </a:p>
          <a:p>
            <a:pPr eaLnBrk="1" hangingPunct="1"/>
            <a:r>
              <a:rPr lang="de-DE" altLang="de-DE" dirty="0"/>
              <a:t>Eine </a:t>
            </a:r>
            <a:r>
              <a:rPr lang="de-DE" altLang="de-DE" b="1" dirty="0"/>
              <a:t>abgesicherte und ergonomische Bedienung</a:t>
            </a:r>
            <a:r>
              <a:rPr lang="de-DE" altLang="de-DE" dirty="0"/>
              <a:t>, z.B. Zweihandbedienung, stellt sicher, dass der Werker nicht in den Gefahrenbereich greifen kann und nicht zur Manipulation der Sicherheitssysteme verleitet wird.</a:t>
            </a:r>
          </a:p>
          <a:p>
            <a:pPr eaLnBrk="1" hangingPunct="1"/>
            <a:r>
              <a:rPr lang="de-DE" altLang="de-DE" dirty="0"/>
              <a:t>Das gesamte Sicherheitssystem wird von einer</a:t>
            </a:r>
            <a:r>
              <a:rPr lang="de-DE" altLang="de-DE" b="1" dirty="0"/>
              <a:t> Sicherheits-SPS</a:t>
            </a:r>
            <a:r>
              <a:rPr lang="de-DE" altLang="de-DE" dirty="0"/>
              <a:t> überwacht, die durch einen zusätzlichen Controller eine redundante Auswertung der Zustände ermöglicht und die Anlagensteuerung überwacht.</a:t>
            </a:r>
            <a:endParaRPr lang="de-DE" altLang="de-DE" sz="1000" dirty="0"/>
          </a:p>
        </p:txBody>
      </p:sp>
    </p:spTree>
    <p:extLst>
      <p:ext uri="{BB962C8B-B14F-4D97-AF65-F5344CB8AC3E}">
        <p14:creationId xmlns:p14="http://schemas.microsoft.com/office/powerpoint/2010/main" val="3143752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CEBF9B00-A271-44F2-97C9-CFA36B379D4B}" type="slidenum">
              <a:rPr lang="de-DE" altLang="de-DE" smtClean="0"/>
              <a:pPr eaLnBrk="1" hangingPunct="1">
                <a:spcBef>
                  <a:spcPct val="0"/>
                </a:spcBef>
              </a:pPr>
              <a:t>26</a:t>
            </a:fld>
            <a:endParaRPr lang="de-DE" altLang="de-DE"/>
          </a:p>
        </p:txBody>
      </p:sp>
      <p:sp>
        <p:nvSpPr>
          <p:cNvPr id="105475" name="Rectangle 2"/>
          <p:cNvSpPr>
            <a:spLocks noGrp="1" noRot="1" noChangeAspect="1" noChangeArrowheads="1" noTextEdit="1"/>
          </p:cNvSpPr>
          <p:nvPr>
            <p:ph type="sldImg"/>
          </p:nvPr>
        </p:nvSpPr>
        <p:spPr>
          <a:xfrm>
            <a:off x="85725" y="744538"/>
            <a:ext cx="6618288" cy="3724275"/>
          </a:xfrm>
          <a:ln/>
        </p:spPr>
      </p:sp>
      <p:sp>
        <p:nvSpPr>
          <p:cNvPr id="105476" name="Rectangle 3"/>
          <p:cNvSpPr>
            <a:spLocks noGrp="1" noChangeArrowheads="1"/>
          </p:cNvSpPr>
          <p:nvPr>
            <p:ph type="body" idx="1"/>
          </p:nvPr>
        </p:nvSpPr>
        <p:spPr>
          <a:noFill/>
        </p:spPr>
        <p:txBody>
          <a:bodyPr/>
          <a:lstStyle/>
          <a:p>
            <a:pPr eaLnBrk="1" hangingPunct="1"/>
            <a:r>
              <a:rPr lang="de-DE" altLang="de-DE" dirty="0"/>
              <a:t>Trennende Schutzeinrichtungen sind konventionelle, zuverlässige Lösungen, um den Zutritt eines Menschen in den Gefahrenbereich zu </a:t>
            </a:r>
            <a:r>
              <a:rPr lang="de-DE" altLang="de-DE" dirty="0" err="1"/>
              <a:t>verhinden</a:t>
            </a:r>
            <a:r>
              <a:rPr lang="de-DE" altLang="de-DE" dirty="0"/>
              <a:t>, oder ihn vor umherfliegenden Bauteilen zu schützen. Ein Eingriff des Bedieners verursacht i.d.R. einen Not-Aus, wodurch der Anreiz zur Manipulation relativ hoch ist.</a:t>
            </a:r>
          </a:p>
          <a:p>
            <a:pPr eaLnBrk="1" hangingPunct="1"/>
            <a:r>
              <a:rPr lang="de-DE" altLang="de-DE" dirty="0"/>
              <a:t>Nachteilig an diesen Systemen ist, dass sie sehr unflexibel sind und nur mit relativ großem Aufwand an neue Produktionsbedingungen angepasst werden können, weshalb sie zunehmend durch nicht-trennende Schutzeinrichtungen ersetzt werden.</a:t>
            </a:r>
          </a:p>
          <a:p>
            <a:pPr eaLnBrk="1" hangingPunct="1"/>
            <a:endParaRPr lang="de-DE" altLang="de-DE" dirty="0"/>
          </a:p>
        </p:txBody>
      </p:sp>
    </p:spTree>
    <p:extLst>
      <p:ext uri="{BB962C8B-B14F-4D97-AF65-F5344CB8AC3E}">
        <p14:creationId xmlns:p14="http://schemas.microsoft.com/office/powerpoint/2010/main" val="3050071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37828" indent="-282437" eaLnBrk="0" hangingPunct="0">
              <a:spcBef>
                <a:spcPct val="30000"/>
              </a:spcBef>
              <a:defRPr sz="1200">
                <a:solidFill>
                  <a:schemeClr val="tx1"/>
                </a:solidFill>
                <a:latin typeface="Arial" charset="0"/>
              </a:defRPr>
            </a:lvl2pPr>
            <a:lvl3pPr marL="1139268" indent="-225315" eaLnBrk="0" hangingPunct="0">
              <a:spcBef>
                <a:spcPct val="30000"/>
              </a:spcBef>
              <a:defRPr sz="1200">
                <a:solidFill>
                  <a:schemeClr val="tx1"/>
                </a:solidFill>
                <a:latin typeface="Arial" charset="0"/>
              </a:defRPr>
            </a:lvl3pPr>
            <a:lvl4pPr marL="1594661" indent="-225315" eaLnBrk="0" hangingPunct="0">
              <a:spcBef>
                <a:spcPct val="30000"/>
              </a:spcBef>
              <a:defRPr sz="1200">
                <a:solidFill>
                  <a:schemeClr val="tx1"/>
                </a:solidFill>
                <a:latin typeface="Arial" charset="0"/>
              </a:defRPr>
            </a:lvl4pPr>
            <a:lvl5pPr marL="2053223" indent="-225315" eaLnBrk="0" hangingPunct="0">
              <a:spcBef>
                <a:spcPct val="30000"/>
              </a:spcBef>
              <a:defRPr sz="1200">
                <a:solidFill>
                  <a:schemeClr val="tx1"/>
                </a:solidFill>
                <a:latin typeface="Arial" charset="0"/>
              </a:defRPr>
            </a:lvl5pPr>
            <a:lvl6pPr marL="2510201" indent="-225315" eaLnBrk="0" fontAlgn="base" hangingPunct="0">
              <a:spcBef>
                <a:spcPct val="30000"/>
              </a:spcBef>
              <a:spcAft>
                <a:spcPct val="0"/>
              </a:spcAft>
              <a:defRPr sz="1200">
                <a:solidFill>
                  <a:schemeClr val="tx1"/>
                </a:solidFill>
                <a:latin typeface="Arial" charset="0"/>
              </a:defRPr>
            </a:lvl6pPr>
            <a:lvl7pPr marL="2967176" indent="-225315" eaLnBrk="0" fontAlgn="base" hangingPunct="0">
              <a:spcBef>
                <a:spcPct val="30000"/>
              </a:spcBef>
              <a:spcAft>
                <a:spcPct val="0"/>
              </a:spcAft>
              <a:defRPr sz="1200">
                <a:solidFill>
                  <a:schemeClr val="tx1"/>
                </a:solidFill>
                <a:latin typeface="Arial" charset="0"/>
              </a:defRPr>
            </a:lvl7pPr>
            <a:lvl8pPr marL="3424155" indent="-225315" eaLnBrk="0" fontAlgn="base" hangingPunct="0">
              <a:spcBef>
                <a:spcPct val="30000"/>
              </a:spcBef>
              <a:spcAft>
                <a:spcPct val="0"/>
              </a:spcAft>
              <a:defRPr sz="1200">
                <a:solidFill>
                  <a:schemeClr val="tx1"/>
                </a:solidFill>
                <a:latin typeface="Arial" charset="0"/>
              </a:defRPr>
            </a:lvl8pPr>
            <a:lvl9pPr marL="3881135" indent="-22531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8364E240-96C3-46AD-BA39-C501A845FAEA}" type="slidenum">
              <a:rPr lang="de-DE" altLang="de-DE" smtClean="0"/>
              <a:pPr eaLnBrk="1" hangingPunct="1">
                <a:spcBef>
                  <a:spcPct val="0"/>
                </a:spcBef>
              </a:pPr>
              <a:t>27</a:t>
            </a:fld>
            <a:endParaRPr lang="de-DE" altLang="de-DE"/>
          </a:p>
        </p:txBody>
      </p:sp>
      <p:sp>
        <p:nvSpPr>
          <p:cNvPr id="106499" name="Rectangle 2"/>
          <p:cNvSpPr>
            <a:spLocks noGrp="1" noRot="1" noChangeAspect="1" noChangeArrowheads="1" noTextEdit="1"/>
          </p:cNvSpPr>
          <p:nvPr>
            <p:ph type="sldImg"/>
          </p:nvPr>
        </p:nvSpPr>
        <p:spPr>
          <a:xfrm>
            <a:off x="85725" y="744538"/>
            <a:ext cx="6618288" cy="3724275"/>
          </a:xfrm>
          <a:ln/>
        </p:spPr>
      </p:sp>
      <p:sp>
        <p:nvSpPr>
          <p:cNvPr id="106500" name="Rectangle 3"/>
          <p:cNvSpPr>
            <a:spLocks noGrp="1" noChangeArrowheads="1"/>
          </p:cNvSpPr>
          <p:nvPr>
            <p:ph type="body" idx="1"/>
          </p:nvPr>
        </p:nvSpPr>
        <p:spPr>
          <a:noFill/>
        </p:spPr>
        <p:txBody>
          <a:bodyPr/>
          <a:lstStyle/>
          <a:p>
            <a:pPr eaLnBrk="1" hangingPunct="1"/>
            <a:r>
              <a:rPr lang="de-DE" altLang="de-DE" dirty="0"/>
              <a:t>Bei den nicht-trennenden Schutzeinrichtungen sind optische Systeme, wie z.B. Laserscanner, Lichtschranken oder 3D-Kameras, weit verbreitet.</a:t>
            </a:r>
          </a:p>
          <a:p>
            <a:pPr eaLnBrk="1" hangingPunct="1"/>
            <a:r>
              <a:rPr lang="de-DE" altLang="de-DE" dirty="0"/>
              <a:t>Eines der modernsten, optischen Sicherheitssysteme ist z.B. das </a:t>
            </a:r>
            <a:r>
              <a:rPr lang="de-DE" altLang="de-DE" dirty="0" err="1"/>
              <a:t>SafetyEye</a:t>
            </a:r>
            <a:r>
              <a:rPr lang="de-DE" altLang="de-DE" dirty="0"/>
              <a:t>. Es besteht aus drei Kameras, die durch Triangulation ein 3D-Bild erzeugen. Vor einer Überwachung wird ein Referenzbild der menschenleeren Zelle aufgenommen und </a:t>
            </a:r>
            <a:r>
              <a:rPr lang="de-DE" altLang="de-DE" dirty="0" err="1"/>
              <a:t>Warnfeld</a:t>
            </a:r>
            <a:r>
              <a:rPr lang="de-DE" altLang="de-DE" dirty="0"/>
              <a:t> (im Bild gelb), Schutzfeld (rot) und Hüllkurve (blau) dreidimensional definiert. Wird eine Veränderung im </a:t>
            </a:r>
            <a:r>
              <a:rPr lang="de-DE" altLang="de-DE" dirty="0" err="1"/>
              <a:t>Warnraum</a:t>
            </a:r>
            <a:r>
              <a:rPr lang="de-DE" altLang="de-DE" dirty="0"/>
              <a:t> erkannt, wird die Maschine nur noch mit reduzierter Geschwindigkeit betrieben. Wird eine Veränderung im Schutzraum erkannt, wird die Maschine stillgesetzt. Bewegungen der Maschine innerhalb der Hüllkurve sind erlaubt, d.h. Veränderungen werden in diesem Bereich ignoriert.</a:t>
            </a:r>
          </a:p>
          <a:p>
            <a:pPr eaLnBrk="1" hangingPunct="1"/>
            <a:endParaRPr lang="de-DE" altLang="de-DE" dirty="0"/>
          </a:p>
          <a:p>
            <a:pPr eaLnBrk="1" hangingPunct="1"/>
            <a:r>
              <a:rPr lang="de-DE" altLang="de-DE" dirty="0"/>
              <a:t>Nachteile dieses Systems liegen insbesondere darin, dass ein bestimmter (grauer) Untergrund erforderlich ist, damit die Bildauswertung sicher funktioniert, und dass die Reaktionszeiten noch sehr lang sind, weshalb </a:t>
            </a:r>
            <a:r>
              <a:rPr lang="de-DE" altLang="de-DE" dirty="0">
                <a:sym typeface="Wingdings" pitchFamily="2" charset="2"/>
              </a:rPr>
              <a:t>große Warn- und Schutzfelder eingerichtet werden müssen, die die Bewegungsfreiheit des Menschen im maschinennahem Bereich einschränken.</a:t>
            </a:r>
            <a:endParaRPr lang="de-DE" altLang="de-DE" dirty="0"/>
          </a:p>
        </p:txBody>
      </p:sp>
    </p:spTree>
    <p:extLst>
      <p:ext uri="{BB962C8B-B14F-4D97-AF65-F5344CB8AC3E}">
        <p14:creationId xmlns:p14="http://schemas.microsoft.com/office/powerpoint/2010/main" val="19844629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mas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eck 4"/>
          <p:cNvSpPr/>
          <p:nvPr/>
        </p:nvSpPr>
        <p:spPr>
          <a:xfrm>
            <a:off x="1" y="0"/>
            <a:ext cx="12192000" cy="6858000"/>
          </a:xfrm>
          <a:prstGeom prst="rect">
            <a:avLst/>
          </a:prstGeom>
          <a:solidFill>
            <a:schemeClr val="tx1">
              <a:alpha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399" dirty="0">
              <a:solidFill>
                <a:schemeClr val="tx1"/>
              </a:solidFill>
            </a:endParaRPr>
          </a:p>
        </p:txBody>
      </p:sp>
      <p:sp>
        <p:nvSpPr>
          <p:cNvPr id="21" name="Freihandform 20"/>
          <p:cNvSpPr/>
          <p:nvPr/>
        </p:nvSpPr>
        <p:spPr>
          <a:xfrm>
            <a:off x="3973335" y="679932"/>
            <a:ext cx="8218666" cy="6187327"/>
          </a:xfrm>
          <a:custGeom>
            <a:avLst/>
            <a:gdLst>
              <a:gd name="connsiteX0" fmla="*/ 5924544 w 8222947"/>
              <a:gd name="connsiteY0" fmla="*/ 885 h 6187327"/>
              <a:gd name="connsiteX1" fmla="*/ 6308590 w 8222947"/>
              <a:gd name="connsiteY1" fmla="*/ 41571 h 6187327"/>
              <a:gd name="connsiteX2" fmla="*/ 8006972 w 8222947"/>
              <a:gd name="connsiteY2" fmla="*/ 1782211 h 6187327"/>
              <a:gd name="connsiteX3" fmla="*/ 8214187 w 8222947"/>
              <a:gd name="connsiteY3" fmla="*/ 2329511 h 6187327"/>
              <a:gd name="connsiteX4" fmla="*/ 8222947 w 8222947"/>
              <a:gd name="connsiteY4" fmla="*/ 2362752 h 6187327"/>
              <a:gd name="connsiteX5" fmla="*/ 8222947 w 8222947"/>
              <a:gd name="connsiteY5" fmla="*/ 4688892 h 6187327"/>
              <a:gd name="connsiteX6" fmla="*/ 8207914 w 8222947"/>
              <a:gd name="connsiteY6" fmla="*/ 4742881 h 6187327"/>
              <a:gd name="connsiteX7" fmla="*/ 7556423 w 8222947"/>
              <a:gd name="connsiteY7" fmla="*/ 6028617 h 6187327"/>
              <a:gd name="connsiteX8" fmla="*/ 7425161 w 8222947"/>
              <a:gd name="connsiteY8" fmla="*/ 6187327 h 6187327"/>
              <a:gd name="connsiteX9" fmla="*/ 1006577 w 8222947"/>
              <a:gd name="connsiteY9" fmla="*/ 6187327 h 6187327"/>
              <a:gd name="connsiteX10" fmla="*/ 850964 w 8222947"/>
              <a:gd name="connsiteY10" fmla="*/ 5995980 h 6187327"/>
              <a:gd name="connsiteX11" fmla="*/ 422250 w 8222947"/>
              <a:gd name="connsiteY11" fmla="*/ 5267019 h 6187327"/>
              <a:gd name="connsiteX12" fmla="*/ 142610 w 8222947"/>
              <a:gd name="connsiteY12" fmla="*/ 2830055 h 6187327"/>
              <a:gd name="connsiteX13" fmla="*/ 3539677 w 8222947"/>
              <a:gd name="connsiteY13" fmla="*/ 2265216 h 6187327"/>
              <a:gd name="connsiteX14" fmla="*/ 5924544 w 8222947"/>
              <a:gd name="connsiteY14" fmla="*/ 885 h 61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947" h="6187327">
                <a:moveTo>
                  <a:pt x="5924544" y="885"/>
                </a:moveTo>
                <a:cubicBezTo>
                  <a:pt x="6041007" y="-3625"/>
                  <a:pt x="6168271" y="8957"/>
                  <a:pt x="6308590" y="41571"/>
                </a:cubicBezTo>
                <a:cubicBezTo>
                  <a:pt x="6952725" y="190142"/>
                  <a:pt x="7634399" y="972436"/>
                  <a:pt x="8006972" y="1782211"/>
                </a:cubicBezTo>
                <a:cubicBezTo>
                  <a:pt x="8089782" y="1962218"/>
                  <a:pt x="8158705" y="2145053"/>
                  <a:pt x="8214187" y="2329511"/>
                </a:cubicBezTo>
                <a:lnTo>
                  <a:pt x="8222947" y="2362752"/>
                </a:lnTo>
                <a:lnTo>
                  <a:pt x="8222947" y="4688892"/>
                </a:lnTo>
                <a:lnTo>
                  <a:pt x="8207914" y="4742881"/>
                </a:lnTo>
                <a:cubicBezTo>
                  <a:pt x="8067235" y="5203851"/>
                  <a:pt x="7847382" y="5639692"/>
                  <a:pt x="7556423" y="6028617"/>
                </a:cubicBezTo>
                <a:lnTo>
                  <a:pt x="7425161" y="6187327"/>
                </a:lnTo>
                <a:lnTo>
                  <a:pt x="1006577" y="6187327"/>
                </a:lnTo>
                <a:lnTo>
                  <a:pt x="850964" y="5995980"/>
                </a:lnTo>
                <a:cubicBezTo>
                  <a:pt x="686863" y="5772304"/>
                  <a:pt x="542722" y="5528860"/>
                  <a:pt x="422250" y="5267019"/>
                </a:cubicBezTo>
                <a:cubicBezTo>
                  <a:pt x="50312" y="4458802"/>
                  <a:pt x="-155418" y="3502075"/>
                  <a:pt x="142610" y="2830055"/>
                </a:cubicBezTo>
                <a:cubicBezTo>
                  <a:pt x="788131" y="1375996"/>
                  <a:pt x="2271479" y="2908304"/>
                  <a:pt x="3539677" y="2265216"/>
                </a:cubicBezTo>
                <a:cubicBezTo>
                  <a:pt x="4682264" y="1685095"/>
                  <a:pt x="4798738" y="44473"/>
                  <a:pt x="5924544" y="885"/>
                </a:cubicBezTo>
                <a:close/>
              </a:path>
            </a:pathLst>
          </a:custGeom>
          <a:solidFill>
            <a:schemeClr val="bg1">
              <a:alpha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399" dirty="0">
              <a:solidFill>
                <a:schemeClr val="tx1"/>
              </a:solidFill>
            </a:endParaRPr>
          </a:p>
        </p:txBody>
      </p:sp>
      <p:sp>
        <p:nvSpPr>
          <p:cNvPr id="12" name="Freihandform 11"/>
          <p:cNvSpPr/>
          <p:nvPr/>
        </p:nvSpPr>
        <p:spPr>
          <a:xfrm>
            <a:off x="5639470" y="1910669"/>
            <a:ext cx="6552531" cy="4947333"/>
          </a:xfrm>
          <a:custGeom>
            <a:avLst/>
            <a:gdLst>
              <a:gd name="connsiteX0" fmla="*/ 4854063 w 6552531"/>
              <a:gd name="connsiteY0" fmla="*/ 7 h 4947333"/>
              <a:gd name="connsiteX1" fmla="*/ 5071206 w 6552531"/>
              <a:gd name="connsiteY1" fmla="*/ 27731 h 4947333"/>
              <a:gd name="connsiteX2" fmla="*/ 6551503 w 6552531"/>
              <a:gd name="connsiteY2" fmla="*/ 1809287 h 4947333"/>
              <a:gd name="connsiteX3" fmla="*/ 6552531 w 6552531"/>
              <a:gd name="connsiteY3" fmla="*/ 1812764 h 4947333"/>
              <a:gd name="connsiteX4" fmla="*/ 6552531 w 6552531"/>
              <a:gd name="connsiteY4" fmla="*/ 3922236 h 4947333"/>
              <a:gd name="connsiteX5" fmla="*/ 6508354 w 6552531"/>
              <a:gd name="connsiteY5" fmla="*/ 4056281 h 4947333"/>
              <a:gd name="connsiteX6" fmla="*/ 6167266 w 6552531"/>
              <a:gd name="connsiteY6" fmla="*/ 4753897 h 4947333"/>
              <a:gd name="connsiteX7" fmla="*/ 6033717 w 6552531"/>
              <a:gd name="connsiteY7" fmla="*/ 4947333 h 4947333"/>
              <a:gd name="connsiteX8" fmla="*/ 688221 w 6552531"/>
              <a:gd name="connsiteY8" fmla="*/ 4947333 h 4947333"/>
              <a:gd name="connsiteX9" fmla="*/ 669155 w 6552531"/>
              <a:gd name="connsiteY9" fmla="*/ 4921952 h 4947333"/>
              <a:gd name="connsiteX10" fmla="*/ 159446 w 6552531"/>
              <a:gd name="connsiteY10" fmla="*/ 3896401 h 4947333"/>
              <a:gd name="connsiteX11" fmla="*/ 44617 w 6552531"/>
              <a:gd name="connsiteY11" fmla="*/ 3440846 h 4947333"/>
              <a:gd name="connsiteX12" fmla="*/ 40529 w 6552531"/>
              <a:gd name="connsiteY12" fmla="*/ 3406626 h 4947333"/>
              <a:gd name="connsiteX13" fmla="*/ 39476 w 6552531"/>
              <a:gd name="connsiteY13" fmla="*/ 3401514 h 4947333"/>
              <a:gd name="connsiteX14" fmla="*/ 482859 w 6552531"/>
              <a:gd name="connsiteY14" fmla="*/ 1876033 h 4947333"/>
              <a:gd name="connsiteX15" fmla="*/ 896951 w 6552531"/>
              <a:gd name="connsiteY15" fmla="*/ 1759366 h 4947333"/>
              <a:gd name="connsiteX16" fmla="*/ 1369778 w 6552531"/>
              <a:gd name="connsiteY16" fmla="*/ 1839493 h 4947333"/>
              <a:gd name="connsiteX17" fmla="*/ 1408346 w 6552531"/>
              <a:gd name="connsiteY17" fmla="*/ 1854656 h 4947333"/>
              <a:gd name="connsiteX18" fmla="*/ 1515289 w 6552531"/>
              <a:gd name="connsiteY18" fmla="*/ 1876395 h 4947333"/>
              <a:gd name="connsiteX19" fmla="*/ 2860708 w 6552531"/>
              <a:gd name="connsiteY19" fmla="*/ 1855646 h 4947333"/>
              <a:gd name="connsiteX20" fmla="*/ 3877062 w 6552531"/>
              <a:gd name="connsiteY20" fmla="*/ 691198 h 4947333"/>
              <a:gd name="connsiteX21" fmla="*/ 4633989 w 6552531"/>
              <a:gd name="connsiteY21" fmla="*/ 13545 h 4947333"/>
              <a:gd name="connsiteX22" fmla="*/ 4683323 w 6552531"/>
              <a:gd name="connsiteY22" fmla="*/ 9490 h 4947333"/>
              <a:gd name="connsiteX23" fmla="*/ 4720135 w 6552531"/>
              <a:gd name="connsiteY23" fmla="*/ 11657 h 4947333"/>
              <a:gd name="connsiteX24" fmla="*/ 4746809 w 6552531"/>
              <a:gd name="connsiteY24" fmla="*/ 6469 h 4947333"/>
              <a:gd name="connsiteX25" fmla="*/ 4854063 w 6552531"/>
              <a:gd name="connsiteY25" fmla="*/ 7 h 49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52531" h="4947333">
                <a:moveTo>
                  <a:pt x="4854063" y="7"/>
                </a:moveTo>
                <a:cubicBezTo>
                  <a:pt x="4925952" y="311"/>
                  <a:pt x="4998520" y="9743"/>
                  <a:pt x="5071206" y="27731"/>
                </a:cubicBezTo>
                <a:cubicBezTo>
                  <a:pt x="5652694" y="171645"/>
                  <a:pt x="6241767" y="863160"/>
                  <a:pt x="6551503" y="1809287"/>
                </a:cubicBezTo>
                <a:lnTo>
                  <a:pt x="6552531" y="1812764"/>
                </a:lnTo>
                <a:lnTo>
                  <a:pt x="6552531" y="3922236"/>
                </a:lnTo>
                <a:lnTo>
                  <a:pt x="6508354" y="4056281"/>
                </a:lnTo>
                <a:cubicBezTo>
                  <a:pt x="6420252" y="4303320"/>
                  <a:pt x="6305352" y="4537096"/>
                  <a:pt x="6167266" y="4753897"/>
                </a:cubicBezTo>
                <a:lnTo>
                  <a:pt x="6033717" y="4947333"/>
                </a:lnTo>
                <a:lnTo>
                  <a:pt x="688221" y="4947333"/>
                </a:lnTo>
                <a:lnTo>
                  <a:pt x="669155" y="4921952"/>
                </a:lnTo>
                <a:cubicBezTo>
                  <a:pt x="462010" y="4623316"/>
                  <a:pt x="290452" y="4280274"/>
                  <a:pt x="159446" y="3896401"/>
                </a:cubicBezTo>
                <a:cubicBezTo>
                  <a:pt x="110759" y="3753734"/>
                  <a:pt x="70478" y="3595787"/>
                  <a:pt x="44617" y="3440846"/>
                </a:cubicBezTo>
                <a:lnTo>
                  <a:pt x="40529" y="3406626"/>
                </a:lnTo>
                <a:lnTo>
                  <a:pt x="39476" y="3401514"/>
                </a:lnTo>
                <a:cubicBezTo>
                  <a:pt x="-78551" y="2709645"/>
                  <a:pt x="67748" y="2122061"/>
                  <a:pt x="482859" y="1876033"/>
                </a:cubicBezTo>
                <a:cubicBezTo>
                  <a:pt x="607393" y="1802224"/>
                  <a:pt x="747277" y="1764396"/>
                  <a:pt x="896951" y="1759366"/>
                </a:cubicBezTo>
                <a:cubicBezTo>
                  <a:pt x="1046624" y="1754337"/>
                  <a:pt x="1206087" y="1782107"/>
                  <a:pt x="1369778" y="1839493"/>
                </a:cubicBezTo>
                <a:lnTo>
                  <a:pt x="1408346" y="1854656"/>
                </a:lnTo>
                <a:lnTo>
                  <a:pt x="1515289" y="1876395"/>
                </a:lnTo>
                <a:cubicBezTo>
                  <a:pt x="1867428" y="1960511"/>
                  <a:pt x="2467079" y="2053179"/>
                  <a:pt x="2860708" y="1855646"/>
                </a:cubicBezTo>
                <a:cubicBezTo>
                  <a:pt x="3254336" y="1658114"/>
                  <a:pt x="3625995" y="1062372"/>
                  <a:pt x="3877062" y="691198"/>
                </a:cubicBezTo>
                <a:cubicBezTo>
                  <a:pt x="4155238" y="279949"/>
                  <a:pt x="4374413" y="55026"/>
                  <a:pt x="4633989" y="13545"/>
                </a:cubicBezTo>
                <a:cubicBezTo>
                  <a:pt x="4650213" y="10953"/>
                  <a:pt x="4666671" y="9635"/>
                  <a:pt x="4683323" y="9490"/>
                </a:cubicBezTo>
                <a:lnTo>
                  <a:pt x="4720135" y="11657"/>
                </a:lnTo>
                <a:lnTo>
                  <a:pt x="4746809" y="6469"/>
                </a:lnTo>
                <a:cubicBezTo>
                  <a:pt x="4782344" y="1985"/>
                  <a:pt x="4818118" y="-145"/>
                  <a:pt x="4854063" y="7"/>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399"/>
          </a:p>
        </p:txBody>
      </p:sp>
      <p:sp>
        <p:nvSpPr>
          <p:cNvPr id="2" name="Titel 1"/>
          <p:cNvSpPr>
            <a:spLocks noGrp="1"/>
          </p:cNvSpPr>
          <p:nvPr>
            <p:ph type="title" hasCustomPrompt="1"/>
          </p:nvPr>
        </p:nvSpPr>
        <p:spPr>
          <a:xfrm>
            <a:off x="4836181" y="3239458"/>
            <a:ext cx="6787409" cy="1097269"/>
          </a:xfrm>
        </p:spPr>
        <p:txBody>
          <a:bodyPr lIns="0" tIns="0" bIns="0" anchor="b">
            <a:normAutofit/>
          </a:bodyPr>
          <a:lstStyle>
            <a:lvl1pPr>
              <a:lnSpc>
                <a:spcPct val="100000"/>
              </a:lnSpc>
              <a:defRPr sz="3198" baseline="0">
                <a:solidFill>
                  <a:schemeClr val="tx2"/>
                </a:solidFill>
              </a:defRPr>
            </a:lvl1pPr>
          </a:lstStyle>
          <a:p>
            <a:r>
              <a:rPr lang="de-DE" dirty="0"/>
              <a:t>Überschrift Titelfolie</a:t>
            </a:r>
            <a:endParaRPr lang="de-CH" dirty="0"/>
          </a:p>
        </p:txBody>
      </p:sp>
      <p:pic>
        <p:nvPicPr>
          <p:cNvPr id="11" name="Grafik 10">
            <a:extLst>
              <a:ext uri="{FF2B5EF4-FFF2-40B4-BE49-F238E27FC236}">
                <a16:creationId xmlns:a16="http://schemas.microsoft.com/office/drawing/2014/main" id="{3F2D6CD5-EBD8-4E95-8859-83C8D04BFA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21531" y="1533510"/>
            <a:ext cx="2690418" cy="1264388"/>
          </a:xfrm>
          <a:prstGeom prst="rect">
            <a:avLst/>
          </a:prstGeom>
        </p:spPr>
      </p:pic>
      <p:sp>
        <p:nvSpPr>
          <p:cNvPr id="4" name="Datumsplatzhalter 3"/>
          <p:cNvSpPr>
            <a:spLocks noGrp="1"/>
          </p:cNvSpPr>
          <p:nvPr>
            <p:ph type="dt" sz="half" idx="10"/>
          </p:nvPr>
        </p:nvSpPr>
        <p:spPr>
          <a:xfrm>
            <a:off x="4830948" y="5641975"/>
            <a:ext cx="1444347" cy="184666"/>
          </a:xfrm>
          <a:prstGeom prst="rect">
            <a:avLst/>
          </a:prstGeom>
        </p:spPr>
        <p:txBody>
          <a:bodyPr wrap="square" lIns="0" tIns="0" rIns="0" bIns="0" anchor="t" anchorCtr="0">
            <a:spAutoFit/>
          </a:bodyPr>
          <a:lstStyle>
            <a:lvl1pPr algn="l">
              <a:defRPr sz="1199">
                <a:latin typeface="+mn-lt"/>
              </a:defRPr>
            </a:lvl1pPr>
          </a:lstStyle>
          <a:p>
            <a:endParaRPr lang="de-CH" dirty="0"/>
          </a:p>
        </p:txBody>
      </p:sp>
      <p:sp>
        <p:nvSpPr>
          <p:cNvPr id="7" name="Rechteck 6">
            <a:extLst>
              <a:ext uri="{FF2B5EF4-FFF2-40B4-BE49-F238E27FC236}">
                <a16:creationId xmlns:a16="http://schemas.microsoft.com/office/drawing/2014/main" id="{269B772D-4EEB-40F5-B989-5B158C414958}"/>
              </a:ext>
            </a:extLst>
          </p:cNvPr>
          <p:cNvSpPr/>
          <p:nvPr/>
        </p:nvSpPr>
        <p:spPr>
          <a:xfrm>
            <a:off x="0" y="6723258"/>
            <a:ext cx="12192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399"/>
          </a:p>
        </p:txBody>
      </p:sp>
      <p:sp>
        <p:nvSpPr>
          <p:cNvPr id="16" name="Textplatzhalter 14">
            <a:extLst>
              <a:ext uri="{FF2B5EF4-FFF2-40B4-BE49-F238E27FC236}">
                <a16:creationId xmlns:a16="http://schemas.microsoft.com/office/drawing/2014/main" id="{2A818FE7-2817-4CCE-892B-6DE76AF6C55A}"/>
              </a:ext>
            </a:extLst>
          </p:cNvPr>
          <p:cNvSpPr>
            <a:spLocks noGrp="1"/>
          </p:cNvSpPr>
          <p:nvPr>
            <p:ph type="body" sz="quarter" idx="14" hasCustomPrompt="1"/>
          </p:nvPr>
        </p:nvSpPr>
        <p:spPr>
          <a:xfrm>
            <a:off x="4836181" y="6200774"/>
            <a:ext cx="5538872" cy="421346"/>
          </a:xfrm>
          <a:prstGeom prst="rect">
            <a:avLst/>
          </a:prstGeom>
        </p:spPr>
        <p:txBody>
          <a:bodyPr wrap="none" lIns="0" tIns="0" rIns="0" bIns="0">
            <a:noAutofit/>
          </a:bodyPr>
          <a:lstStyle>
            <a:lvl1pPr marL="0" indent="0">
              <a:buNone/>
              <a:defRPr sz="1199">
                <a:latin typeface="+mn-lt"/>
              </a:defRPr>
            </a:lvl1pPr>
          </a:lstStyle>
          <a:p>
            <a:pPr lvl="0"/>
            <a:r>
              <a:rPr lang="de-CH" dirty="0"/>
              <a:t>Departement / Abteilung</a:t>
            </a:r>
          </a:p>
        </p:txBody>
      </p:sp>
      <p:sp>
        <p:nvSpPr>
          <p:cNvPr id="17"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4836181" y="4410389"/>
            <a:ext cx="6787409" cy="860307"/>
          </a:xfrm>
          <a:prstGeom prst="rect">
            <a:avLst/>
          </a:prstGeom>
        </p:spPr>
        <p:txBody>
          <a:bodyPr lIns="0" tIns="0" rIns="0" bIns="0">
            <a:normAutofit/>
          </a:bodyPr>
          <a:lstStyle>
            <a:lvl1pPr marL="0" indent="0">
              <a:buNone/>
              <a:defRPr sz="1999" b="1" baseline="0"/>
            </a:lvl1pPr>
            <a:lvl2pPr marL="456971" indent="0">
              <a:buNone/>
              <a:defRPr/>
            </a:lvl2pPr>
          </a:lstStyle>
          <a:p>
            <a:pPr lvl="0"/>
            <a:r>
              <a:rPr lang="de-DE" dirty="0"/>
              <a:t>Untertitel</a:t>
            </a:r>
          </a:p>
        </p:txBody>
      </p:sp>
      <p:sp>
        <p:nvSpPr>
          <p:cNvPr id="19" name="Textplatzhalter 5"/>
          <p:cNvSpPr>
            <a:spLocks noGrp="1"/>
          </p:cNvSpPr>
          <p:nvPr>
            <p:ph type="body" sz="quarter" idx="20" hasCustomPrompt="1"/>
          </p:nvPr>
        </p:nvSpPr>
        <p:spPr>
          <a:xfrm>
            <a:off x="4830949" y="5342714"/>
            <a:ext cx="5544105" cy="184666"/>
          </a:xfrm>
          <a:prstGeom prst="rect">
            <a:avLst/>
          </a:prstGeom>
        </p:spPr>
        <p:txBody>
          <a:bodyPr wrap="none" lIns="0" tIns="0" rIns="0" bIns="0" anchor="b" anchorCtr="0">
            <a:noAutofit/>
          </a:bodyPr>
          <a:lstStyle>
            <a:lvl1pPr marL="0" marR="0" indent="0" algn="l" defTabSz="609463" rtl="0" eaLnBrk="1" fontAlgn="auto" latinLnBrk="0" hangingPunct="1">
              <a:lnSpc>
                <a:spcPct val="100000"/>
              </a:lnSpc>
              <a:spcBef>
                <a:spcPts val="0"/>
              </a:spcBef>
              <a:spcAft>
                <a:spcPts val="0"/>
              </a:spcAft>
              <a:buClrTx/>
              <a:buSzTx/>
              <a:buFontTx/>
              <a:buNone/>
              <a:tabLst/>
              <a:defRPr sz="1199">
                <a:latin typeface="+mn-lt"/>
              </a:defRPr>
            </a:lvl1pPr>
            <a:lvl2pPr marL="360182" indent="0">
              <a:buNone/>
              <a:defRPr/>
            </a:lvl2pPr>
            <a:lvl3pPr marL="718778" indent="0">
              <a:buNone/>
              <a:defRPr/>
            </a:lvl3pPr>
            <a:lvl4pPr marL="1077373" indent="0">
              <a:buNone/>
              <a:defRPr/>
            </a:lvl4pPr>
            <a:lvl5pPr marL="1437556" indent="0">
              <a:buNone/>
              <a:defRPr/>
            </a:lvl5p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de-CH" sz="1199"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Tree>
    <p:extLst>
      <p:ext uri="{BB962C8B-B14F-4D97-AF65-F5344CB8AC3E}">
        <p14:creationId xmlns:p14="http://schemas.microsoft.com/office/powerpoint/2010/main" val="24436533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7335">
          <p15:clr>
            <a:srgbClr val="FBAE40"/>
          </p15:clr>
        </p15:guide>
        <p15:guide id="3" pos="30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nur Titel">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3" name="Titel 2"/>
          <p:cNvSpPr>
            <a:spLocks noGrp="1"/>
          </p:cNvSpPr>
          <p:nvPr>
            <p:ph type="title"/>
          </p:nvPr>
        </p:nvSpPr>
        <p:spPr/>
        <p:txBody>
          <a:bodyPr/>
          <a:lstStyle/>
          <a:p>
            <a:r>
              <a:rPr lang="de-DE"/>
              <a:t>Mastertitelformat bearbeiten</a:t>
            </a:r>
            <a:endParaRPr lang="de-CH"/>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Tree>
    <p:extLst>
      <p:ext uri="{BB962C8B-B14F-4D97-AF65-F5344CB8AC3E}">
        <p14:creationId xmlns:p14="http://schemas.microsoft.com/office/powerpoint/2010/main" val="246860602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er">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r>
              <a:rPr lang="de-CH"/>
              <a:t>Automation II</a:t>
            </a:r>
            <a:endParaRPr lang="de-CH" dirty="0"/>
          </a:p>
        </p:txBody>
      </p:sp>
      <p:sp>
        <p:nvSpPr>
          <p:cNvPr id="4" name="Foliennummernplatzhalter 3"/>
          <p:cNvSpPr>
            <a:spLocks noGrp="1"/>
          </p:cNvSpPr>
          <p:nvPr>
            <p:ph type="sldNum" sz="quarter" idx="12"/>
          </p:nvPr>
        </p:nvSpPr>
        <p:spPr/>
        <p:txBody>
          <a:bodyPr/>
          <a:lstStyle/>
          <a:p>
            <a:fld id="{4EAC321B-7500-4259-A00F-915439A35E15}" type="slidenum">
              <a:rPr lang="de-CH" smtClean="0"/>
              <a:pPr/>
              <a:t>‹Nr.›</a:t>
            </a:fld>
            <a:endParaRPr lang="de-CH" dirty="0"/>
          </a:p>
        </p:txBody>
      </p:sp>
    </p:spTree>
    <p:extLst>
      <p:ext uri="{BB962C8B-B14F-4D97-AF65-F5344CB8AC3E}">
        <p14:creationId xmlns:p14="http://schemas.microsoft.com/office/powerpoint/2010/main" val="161903243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ollbild">
    <p:bg>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dirty="0"/>
          </a:p>
        </p:txBody>
      </p:sp>
      <p:sp>
        <p:nvSpPr>
          <p:cNvPr id="3" name="Fußzeilenplatzhalter 2"/>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4" name="Foliennummernplatzhalter 3"/>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7" name="Bildplatzhalter 7"/>
          <p:cNvSpPr>
            <a:spLocks noGrp="1"/>
          </p:cNvSpPr>
          <p:nvPr>
            <p:ph type="pic" sz="quarter" idx="20" hasCustomPrompt="1"/>
          </p:nvPr>
        </p:nvSpPr>
        <p:spPr>
          <a:xfrm>
            <a:off x="0" y="-1"/>
            <a:ext cx="12192000" cy="6200775"/>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Tree>
    <p:extLst>
      <p:ext uri="{BB962C8B-B14F-4D97-AF65-F5344CB8AC3E}">
        <p14:creationId xmlns:p14="http://schemas.microsoft.com/office/powerpoint/2010/main" val="80521169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E_Textseite">
    <p:spTree>
      <p:nvGrpSpPr>
        <p:cNvPr id="1" name=""/>
        <p:cNvGrpSpPr/>
        <p:nvPr/>
      </p:nvGrpSpPr>
      <p:grpSpPr>
        <a:xfrm>
          <a:off x="0" y="0"/>
          <a:ext cx="0" cy="0"/>
          <a:chOff x="0" y="0"/>
          <a:chExt cx="0" cy="0"/>
        </a:xfrm>
      </p:grpSpPr>
      <p:sp>
        <p:nvSpPr>
          <p:cNvPr id="11" name="Textplatzhalter 2"/>
          <p:cNvSpPr>
            <a:spLocks noGrp="1"/>
          </p:cNvSpPr>
          <p:nvPr>
            <p:ph idx="1"/>
          </p:nvPr>
        </p:nvSpPr>
        <p:spPr>
          <a:xfrm>
            <a:off x="624418" y="1477433"/>
            <a:ext cx="8593668" cy="4832352"/>
          </a:xfrm>
          <a:prstGeom prst="rect">
            <a:avLst/>
          </a:prstGeom>
        </p:spPr>
        <p:txBody>
          <a:bodyPr vert="horz" lIns="0" tIns="45720" rIns="91440" bIns="45720" rtlCol="0">
            <a:noAutofit/>
          </a:bodyPr>
          <a:lstStyle>
            <a:lvl1pPr marL="0" indent="0">
              <a:buNone/>
              <a:defRPr sz="1788" baseline="0"/>
            </a:lvl1pPr>
            <a:lvl2pPr>
              <a:defRPr lang="de-DE" sz="1788" kern="1200" baseline="0" dirty="0" smtClean="0">
                <a:solidFill>
                  <a:srgbClr val="002D58"/>
                </a:solidFill>
                <a:latin typeface="+mn-lt"/>
                <a:ea typeface="+mn-ea"/>
                <a:cs typeface="+mn-cs"/>
              </a:defRPr>
            </a:lvl2pPr>
            <a:lvl3pPr>
              <a:defRPr sz="1788" baseline="0"/>
            </a:lvl3pPr>
            <a:lvl4pPr>
              <a:defRPr sz="1788" baseline="0"/>
            </a:lvl4pPr>
            <a:lvl5pPr>
              <a:defRPr sz="1788" baseline="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itel 13"/>
          <p:cNvSpPr>
            <a:spLocks noGrp="1"/>
          </p:cNvSpPr>
          <p:nvPr>
            <p:ph type="title"/>
          </p:nvPr>
        </p:nvSpPr>
        <p:spPr>
          <a:xfrm>
            <a:off x="624419" y="452967"/>
            <a:ext cx="9023349" cy="483296"/>
          </a:xfrm>
        </p:spPr>
        <p:txBody>
          <a:bodyPr/>
          <a:lstStyle/>
          <a:p>
            <a:r>
              <a:rPr lang="de-DE"/>
              <a:t>Mastertitelformat bearbeiten</a:t>
            </a:r>
            <a:endParaRPr lang="de-DE" dirty="0"/>
          </a:p>
        </p:txBody>
      </p:sp>
      <p:sp>
        <p:nvSpPr>
          <p:cNvPr id="20" name="Fußzeilenplatzhalter 19"/>
          <p:cNvSpPr>
            <a:spLocks noGrp="1"/>
          </p:cNvSpPr>
          <p:nvPr>
            <p:ph type="ftr" sz="quarter" idx="15"/>
          </p:nvPr>
        </p:nvSpPr>
        <p:spPr>
          <a:xfrm>
            <a:off x="839260" y="6461313"/>
            <a:ext cx="8593666" cy="211045"/>
          </a:xfrm>
          <a:prstGeom prst="rect">
            <a:avLst/>
          </a:prstGeom>
        </p:spPr>
        <p:txBody>
          <a:bodyPr/>
          <a:lstStyle>
            <a:lvl1pPr>
              <a:defRPr/>
            </a:lvl1pPr>
          </a:lstStyle>
          <a:p>
            <a:pPr defTabSz="354707"/>
            <a:r>
              <a:rPr lang="de-DE"/>
              <a:t>Automation II</a:t>
            </a:r>
            <a:endParaRPr lang="de-DE" altLang="de-DE" dirty="0">
              <a:solidFill>
                <a:srgbClr val="D40032"/>
              </a:solidFill>
            </a:endParaRPr>
          </a:p>
        </p:txBody>
      </p:sp>
      <p:sp>
        <p:nvSpPr>
          <p:cNvPr id="21" name="Foliennummernplatzhalter 20"/>
          <p:cNvSpPr>
            <a:spLocks noGrp="1"/>
          </p:cNvSpPr>
          <p:nvPr>
            <p:ph type="sldNum" sz="quarter" idx="16"/>
          </p:nvPr>
        </p:nvSpPr>
        <p:spPr>
          <a:xfrm>
            <a:off x="0" y="6461313"/>
            <a:ext cx="767049" cy="211045"/>
          </a:xfrm>
        </p:spPr>
        <p:txBody>
          <a:bodyPr/>
          <a:lstStyle/>
          <a:p>
            <a:fld id="{61F2C2C2-1EE4-4D60-B09F-2141F977BFAA}" type="slidenum">
              <a:rPr lang="de-DE" altLang="de-DE" smtClean="0"/>
              <a:pPr/>
              <a:t>‹Nr.›</a:t>
            </a:fld>
            <a:endParaRPr lang="de-DE" altLang="de-DE"/>
          </a:p>
        </p:txBody>
      </p:sp>
    </p:spTree>
    <p:extLst>
      <p:ext uri="{BB962C8B-B14F-4D97-AF65-F5344CB8AC3E}">
        <p14:creationId xmlns:p14="http://schemas.microsoft.com/office/powerpoint/2010/main" val="3384671813"/>
      </p:ext>
    </p:extLst>
  </p:cSld>
  <p:clrMapOvr>
    <a:masterClrMapping/>
  </p:clrMapOvr>
  <p:transition spd="slow">
    <p:wip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4149969" y="863601"/>
            <a:ext cx="7768492" cy="472564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85937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a:t>Mastertitelformat bearbeiten</a:t>
            </a:r>
            <a:endParaRPr lang="de-CH"/>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19118215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1956936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Mastertitelformat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5921655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p:cNvSpPr>
            <a:spLocks noGrp="1"/>
          </p:cNvSpPr>
          <p:nvPr>
            <p:ph type="dt" sz="half" idx="10"/>
          </p:nvPr>
        </p:nvSpPr>
        <p:spPr/>
        <p:txBody>
          <a:bodyPr/>
          <a:lstStyle/>
          <a:p>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5857090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Mastertitelformat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endParaRPr lang="de-CH"/>
          </a:p>
        </p:txBody>
      </p:sp>
      <p:sp>
        <p:nvSpPr>
          <p:cNvPr id="8" name="Fußzeilenplatzhalter 7"/>
          <p:cNvSpPr>
            <a:spLocks noGrp="1"/>
          </p:cNvSpPr>
          <p:nvPr>
            <p:ph type="ftr" sz="quarter" idx="11"/>
          </p:nvPr>
        </p:nvSpPr>
        <p:spPr/>
        <p:txBody>
          <a:bodyPr/>
          <a:lstStyle/>
          <a:p>
            <a:r>
              <a:rPr lang="de-CH"/>
              <a:t>Automation II</a:t>
            </a:r>
          </a:p>
        </p:txBody>
      </p:sp>
      <p:sp>
        <p:nvSpPr>
          <p:cNvPr id="9" name="Foliennummernplatzhalter 8"/>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530276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296442" y="5947634"/>
            <a:ext cx="1557598"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2000" cy="5772670"/>
          </a:xfrm>
          <a:prstGeom prst="rect">
            <a:avLst/>
          </a:prstGeom>
          <a:solidFill>
            <a:schemeClr val="bg2"/>
          </a:solidFill>
        </p:spPr>
        <p:txBody>
          <a:bodyPr lIns="216000" tIns="108000" anchor="t" anchorCtr="0">
            <a:normAutofit/>
          </a:bodyPr>
          <a:lstStyle>
            <a:lvl1pPr marL="0" indent="0">
              <a:buNone/>
              <a:defRPr sz="1999"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5752" y="3427354"/>
            <a:ext cx="5954290" cy="797311"/>
          </a:xfrm>
          <a:solidFill>
            <a:srgbClr val="FFFFFF">
              <a:alpha val="80000"/>
            </a:srgbClr>
          </a:solidFill>
        </p:spPr>
        <p:txBody>
          <a:bodyPr wrap="square" lIns="108000" tIns="72000" rIns="108000" bIns="108000" anchor="b" anchorCtr="0">
            <a:spAutoFit/>
          </a:bodyPr>
          <a:lstStyle>
            <a:lvl1pPr algn="l">
              <a:lnSpc>
                <a:spcPct val="100000"/>
              </a:lnSpc>
              <a:defRPr sz="3998"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6069" y="6453188"/>
            <a:ext cx="3375587" cy="179387"/>
          </a:xfrm>
          <a:prstGeom prst="rect">
            <a:avLst/>
          </a:prstGeom>
        </p:spPr>
        <p:txBody>
          <a:bodyPr lIns="0" tIns="0" rIns="0" bIns="0" anchor="b" anchorCtr="0"/>
          <a:lstStyle>
            <a:lvl1pPr algn="l">
              <a:defRPr sz="1199" b="0">
                <a:solidFill>
                  <a:schemeClr val="tx1"/>
                </a:solidFill>
                <a:latin typeface="Arial" panose="020B0604020202020204" pitchFamily="34" charset="0"/>
                <a:cs typeface="Arial" panose="020B0604020202020204" pitchFamily="34" charset="0"/>
              </a:defRPr>
            </a:lvl1pPr>
          </a:lstStyle>
          <a:p>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5314" y="4224664"/>
            <a:ext cx="4061884" cy="489534"/>
          </a:xfrm>
          <a:prstGeom prst="rect">
            <a:avLst/>
          </a:prstGeom>
          <a:solidFill>
            <a:srgbClr val="D72864">
              <a:alpha val="80000"/>
            </a:srgbClr>
          </a:solidFill>
        </p:spPr>
        <p:txBody>
          <a:bodyPr wrap="square" lIns="108000" tIns="72000" rIns="108000" bIns="108000" anchor="t" anchorCtr="0">
            <a:spAutoFit/>
          </a:bodyPr>
          <a:lstStyle>
            <a:lvl1pPr marL="0" indent="0">
              <a:buNone/>
              <a:defRPr sz="1999" baseline="0">
                <a:solidFill>
                  <a:schemeClr val="bg1"/>
                </a:solidFill>
              </a:defRPr>
            </a:lvl1pPr>
            <a:lvl2pPr marL="456971"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6069" y="5949950"/>
            <a:ext cx="3363301" cy="503238"/>
          </a:xfrm>
          <a:prstGeom prst="rect">
            <a:avLst/>
          </a:prstGeom>
        </p:spPr>
        <p:txBody>
          <a:bodyPr lIns="0" tIns="0" rIns="0" bIns="0" anchor="t" anchorCtr="0">
            <a:normAutofit/>
          </a:bodyPr>
          <a:lstStyle>
            <a:lvl1pPr marL="0" marR="0" indent="0" algn="l" defTabSz="609463" rtl="0" eaLnBrk="1" fontAlgn="auto" latinLnBrk="0" hangingPunct="1">
              <a:lnSpc>
                <a:spcPct val="100000"/>
              </a:lnSpc>
              <a:spcBef>
                <a:spcPts val="0"/>
              </a:spcBef>
              <a:spcAft>
                <a:spcPts val="0"/>
              </a:spcAft>
              <a:buClrTx/>
              <a:buSzTx/>
              <a:buFontTx/>
              <a:buNone/>
              <a:tabLst/>
              <a:defRPr sz="1199"/>
            </a:lvl1pPr>
            <a:lvl2pPr marL="360182" indent="0">
              <a:buNone/>
              <a:defRPr/>
            </a:lvl2pPr>
            <a:lvl3pPr marL="718778" indent="0">
              <a:buNone/>
              <a:defRPr/>
            </a:lvl3pPr>
            <a:lvl4pPr marL="1077373" indent="0">
              <a:buNone/>
              <a:defRPr/>
            </a:lvl4pPr>
            <a:lvl5pPr marL="1437556" indent="0">
              <a:buNone/>
              <a:defRPr/>
            </a:lvl5p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de-CH" sz="1199"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031" y="5949950"/>
            <a:ext cx="4529722" cy="647700"/>
          </a:xfrm>
          <a:prstGeom prst="rect">
            <a:avLst/>
          </a:prstGeom>
        </p:spPr>
        <p:txBody>
          <a:bodyPr wrap="none" lIns="0" tIns="0" rIns="0" bIns="0">
            <a:noAutofit/>
          </a:bodyPr>
          <a:lstStyle>
            <a:lvl1pPr marL="0" indent="0">
              <a:buNone/>
              <a:defRPr sz="1199">
                <a:latin typeface="+mn-lt"/>
              </a:defRPr>
            </a:lvl1pPr>
          </a:lstStyle>
          <a:p>
            <a:pPr lvl="0"/>
            <a:r>
              <a:rPr lang="de-CH" dirty="0"/>
              <a:t>Departement / Abteilung</a:t>
            </a:r>
          </a:p>
        </p:txBody>
      </p:sp>
    </p:spTree>
    <p:extLst>
      <p:ext uri="{BB962C8B-B14F-4D97-AF65-F5344CB8AC3E}">
        <p14:creationId xmlns:p14="http://schemas.microsoft.com/office/powerpoint/2010/main" val="553960034"/>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Datumsplatzhalter 2"/>
          <p:cNvSpPr>
            <a:spLocks noGrp="1"/>
          </p:cNvSpPr>
          <p:nvPr>
            <p:ph type="dt" sz="half" idx="10"/>
          </p:nvPr>
        </p:nvSpPr>
        <p:spPr/>
        <p:txBody>
          <a:bodyPr/>
          <a:lstStyle/>
          <a:p>
            <a:endParaRPr lang="de-CH"/>
          </a:p>
        </p:txBody>
      </p:sp>
      <p:sp>
        <p:nvSpPr>
          <p:cNvPr id="4" name="Fußzeilenplatzhalter 3"/>
          <p:cNvSpPr>
            <a:spLocks noGrp="1"/>
          </p:cNvSpPr>
          <p:nvPr>
            <p:ph type="ftr" sz="quarter" idx="11"/>
          </p:nvPr>
        </p:nvSpPr>
        <p:spPr/>
        <p:txBody>
          <a:bodyPr/>
          <a:lstStyle/>
          <a:p>
            <a:r>
              <a:rPr lang="de-CH"/>
              <a:t>Automation II</a:t>
            </a:r>
          </a:p>
        </p:txBody>
      </p:sp>
      <p:sp>
        <p:nvSpPr>
          <p:cNvPr id="5" name="Foliennummernplatzhalter 4"/>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35509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CH"/>
          </a:p>
        </p:txBody>
      </p:sp>
      <p:sp>
        <p:nvSpPr>
          <p:cNvPr id="3" name="Fußzeilenplatzhalter 2"/>
          <p:cNvSpPr>
            <a:spLocks noGrp="1"/>
          </p:cNvSpPr>
          <p:nvPr>
            <p:ph type="ftr" sz="quarter" idx="11"/>
          </p:nvPr>
        </p:nvSpPr>
        <p:spPr/>
        <p:txBody>
          <a:bodyPr/>
          <a:lstStyle/>
          <a:p>
            <a:r>
              <a:rPr lang="de-CH"/>
              <a:t>Automation II</a:t>
            </a:r>
          </a:p>
        </p:txBody>
      </p:sp>
      <p:sp>
        <p:nvSpPr>
          <p:cNvPr id="4" name="Foliennummernplatzhalter 3"/>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5837670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Mastertitelformat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2679627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Mastertitelformat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CH"/>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endParaRPr lang="de-CH"/>
          </a:p>
        </p:txBody>
      </p:sp>
      <p:sp>
        <p:nvSpPr>
          <p:cNvPr id="6" name="Fußzeilenplatzhalter 5"/>
          <p:cNvSpPr>
            <a:spLocks noGrp="1"/>
          </p:cNvSpPr>
          <p:nvPr>
            <p:ph type="ftr" sz="quarter" idx="11"/>
          </p:nvPr>
        </p:nvSpPr>
        <p:spPr/>
        <p:txBody>
          <a:bodyPr/>
          <a:lstStyle/>
          <a:p>
            <a:r>
              <a:rPr lang="de-CH"/>
              <a:t>Automation II</a:t>
            </a:r>
          </a:p>
        </p:txBody>
      </p:sp>
      <p:sp>
        <p:nvSpPr>
          <p:cNvPr id="7" name="Foliennummernplatzhalter 6"/>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36071942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8187662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p:spPr>
        <p:txBody>
          <a:bodyPr vert="eaVert"/>
          <a:lstStyle/>
          <a:p>
            <a:r>
              <a:rPr lang="de-DE"/>
              <a:t>Mastertitelformat bearbeiten</a:t>
            </a:r>
            <a:endParaRPr lang="de-CH"/>
          </a:p>
        </p:txBody>
      </p:sp>
      <p:sp>
        <p:nvSpPr>
          <p:cNvPr id="3" name="Vertikaler Textplatzhalter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endParaRPr lang="de-CH"/>
          </a:p>
        </p:txBody>
      </p:sp>
      <p:sp>
        <p:nvSpPr>
          <p:cNvPr id="5" name="Fußzeilenplatzhalter 4"/>
          <p:cNvSpPr>
            <a:spLocks noGrp="1"/>
          </p:cNvSpPr>
          <p:nvPr>
            <p:ph type="ftr" sz="quarter" idx="11"/>
          </p:nvPr>
        </p:nvSpPr>
        <p:spPr/>
        <p:txBody>
          <a:bodyPr/>
          <a:lstStyle/>
          <a:p>
            <a:r>
              <a:rPr lang="de-CH"/>
              <a:t>Automation II</a:t>
            </a:r>
          </a:p>
        </p:txBody>
      </p:sp>
      <p:sp>
        <p:nvSpPr>
          <p:cNvPr id="6" name="Foliennummernplatzhalter 5"/>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28658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Datumsplatzhalter 2"/>
          <p:cNvSpPr>
            <a:spLocks noGrp="1"/>
          </p:cNvSpPr>
          <p:nvPr>
            <p:ph type="dt" sz="half" idx="10"/>
          </p:nvPr>
        </p:nvSpPr>
        <p:spPr/>
        <p:txBody>
          <a:bodyPr/>
          <a:lstStyle/>
          <a:p>
            <a:endParaRPr lang="de-CH"/>
          </a:p>
        </p:txBody>
      </p:sp>
      <p:sp>
        <p:nvSpPr>
          <p:cNvPr id="4" name="Fußzeilenplatzhalter 3"/>
          <p:cNvSpPr>
            <a:spLocks noGrp="1"/>
          </p:cNvSpPr>
          <p:nvPr>
            <p:ph type="ftr" sz="quarter" idx="11"/>
          </p:nvPr>
        </p:nvSpPr>
        <p:spPr/>
        <p:txBody>
          <a:bodyPr/>
          <a:lstStyle/>
          <a:p>
            <a:r>
              <a:rPr lang="de-CH"/>
              <a:t>Automation II</a:t>
            </a:r>
          </a:p>
        </p:txBody>
      </p:sp>
      <p:sp>
        <p:nvSpPr>
          <p:cNvPr id="5" name="Foliennummernplatzhalter 4"/>
          <p:cNvSpPr>
            <a:spLocks noGrp="1"/>
          </p:cNvSpPr>
          <p:nvPr>
            <p:ph type="sldNum" sz="quarter" idx="12"/>
          </p:nvPr>
        </p:nvSpPr>
        <p:spPr/>
        <p:txBody>
          <a:bodyPr/>
          <a:lstStyle/>
          <a:p>
            <a:fld id="{EFA065C8-95A9-46CE-8462-4ACAF4D5C6E3}" type="slidenum">
              <a:rPr lang="de-CH" smtClean="0"/>
              <a:t>‹Nr.›</a:t>
            </a:fld>
            <a:endParaRPr lang="de-CH"/>
          </a:p>
        </p:txBody>
      </p:sp>
    </p:spTree>
    <p:extLst>
      <p:ext uri="{BB962C8B-B14F-4D97-AF65-F5344CB8AC3E}">
        <p14:creationId xmlns:p14="http://schemas.microsoft.com/office/powerpoint/2010/main" val="40293155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bschnittsfolie hoch">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8" name="Bildplatzhalter 7"/>
          <p:cNvSpPr>
            <a:spLocks noGrp="1"/>
          </p:cNvSpPr>
          <p:nvPr>
            <p:ph type="pic" sz="quarter" idx="20" hasCustomPrompt="1"/>
          </p:nvPr>
        </p:nvSpPr>
        <p:spPr>
          <a:xfrm>
            <a:off x="6491082" y="333375"/>
            <a:ext cx="5362958" cy="5867400"/>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029" y="2213150"/>
            <a:ext cx="5361372" cy="1917733"/>
          </a:xfrm>
          <a:prstGeom prst="rect">
            <a:avLst/>
          </a:prstGeom>
        </p:spPr>
        <p:txBody>
          <a:bodyPr lIns="0" tIns="36000" rIns="0" bIns="0">
            <a:noAutofit/>
          </a:bodyPr>
          <a:lstStyle>
            <a:lvl1pPr marL="0" indent="0">
              <a:buNone/>
              <a:defRPr sz="1999" b="1"/>
            </a:lvl1pPr>
            <a:lvl2pPr marL="456971" indent="0">
              <a:buNone/>
              <a:defRPr/>
            </a:lvl2pPr>
          </a:lstStyle>
          <a:p>
            <a:pPr lvl="0"/>
            <a:r>
              <a:rPr lang="de-DE" dirty="0"/>
              <a:t>Untertitel</a:t>
            </a:r>
          </a:p>
        </p:txBody>
      </p:sp>
      <p:sp>
        <p:nvSpPr>
          <p:cNvPr id="11" name="Titel 1"/>
          <p:cNvSpPr>
            <a:spLocks noGrp="1"/>
          </p:cNvSpPr>
          <p:nvPr>
            <p:ph type="title" hasCustomPrompt="1"/>
          </p:nvPr>
        </p:nvSpPr>
        <p:spPr>
          <a:xfrm>
            <a:off x="806031" y="333375"/>
            <a:ext cx="5361371" cy="1835150"/>
          </a:xfrm>
        </p:spPr>
        <p:txBody>
          <a:bodyPr anchor="b" anchorCtr="0">
            <a:noAutofit/>
          </a:bodyPr>
          <a:lstStyle>
            <a:lvl1pPr>
              <a:lnSpc>
                <a:spcPct val="100000"/>
              </a:lnSpc>
              <a:defRPr sz="3198" baseline="0"/>
            </a:lvl1pPr>
          </a:lstStyle>
          <a:p>
            <a:r>
              <a:rPr lang="de-DE" dirty="0"/>
              <a:t>Titel Abschnittsfolie</a:t>
            </a:r>
            <a:endParaRPr lang="de-CH" dirty="0"/>
          </a:p>
        </p:txBody>
      </p:sp>
    </p:spTree>
    <p:extLst>
      <p:ext uri="{BB962C8B-B14F-4D97-AF65-F5344CB8AC3E}">
        <p14:creationId xmlns:p14="http://schemas.microsoft.com/office/powerpoint/2010/main" val="2870027910"/>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schnittsfolie quer">
    <p:spTree>
      <p:nvGrpSpPr>
        <p:cNvPr id="1" name=""/>
        <p:cNvGrpSpPr/>
        <p:nvPr/>
      </p:nvGrpSpPr>
      <p:grpSpPr>
        <a:xfrm>
          <a:off x="0" y="0"/>
          <a:ext cx="0" cy="0"/>
          <a:chOff x="0" y="0"/>
          <a:chExt cx="0" cy="0"/>
        </a:xfrm>
      </p:grpSpPr>
      <p:sp>
        <p:nvSpPr>
          <p:cNvPr id="9" name="Bildplatzhalter 7"/>
          <p:cNvSpPr>
            <a:spLocks noGrp="1"/>
          </p:cNvSpPr>
          <p:nvPr>
            <p:ph type="pic" sz="quarter" idx="21" hasCustomPrompt="1"/>
          </p:nvPr>
        </p:nvSpPr>
        <p:spPr>
          <a:xfrm>
            <a:off x="0" y="3850783"/>
            <a:ext cx="12192000" cy="2349992"/>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2" name="Titel 1"/>
          <p:cNvSpPr>
            <a:spLocks noGrp="1"/>
          </p:cNvSpPr>
          <p:nvPr>
            <p:ph type="title" hasCustomPrompt="1"/>
          </p:nvPr>
        </p:nvSpPr>
        <p:spPr>
          <a:xfrm>
            <a:off x="806031" y="333375"/>
            <a:ext cx="11048009" cy="1835150"/>
          </a:xfrm>
        </p:spPr>
        <p:txBody>
          <a:bodyPr anchor="b" anchorCtr="0">
            <a:noAutofit/>
          </a:bodyPr>
          <a:lstStyle>
            <a:lvl1pPr>
              <a:lnSpc>
                <a:spcPct val="100000"/>
              </a:lnSpc>
              <a:defRPr sz="3198"/>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030" y="2213150"/>
            <a:ext cx="7367796" cy="1398501"/>
          </a:xfrm>
          <a:prstGeom prst="rect">
            <a:avLst/>
          </a:prstGeom>
        </p:spPr>
        <p:txBody>
          <a:bodyPr lIns="0" tIns="36000" rIns="0" bIns="0">
            <a:noAutofit/>
          </a:bodyPr>
          <a:lstStyle>
            <a:lvl1pPr marL="0" indent="0">
              <a:buNone/>
              <a:defRPr sz="1999" b="1"/>
            </a:lvl1pPr>
            <a:lvl2pPr marL="456971" indent="0">
              <a:buNone/>
              <a:defRPr/>
            </a:lvl2pPr>
          </a:lstStyle>
          <a:p>
            <a:pPr lvl="0"/>
            <a:r>
              <a:rPr lang="de-DE" dirty="0"/>
              <a:t>Untertitel</a:t>
            </a:r>
          </a:p>
        </p:txBody>
      </p:sp>
    </p:spTree>
    <p:extLst>
      <p:ext uri="{BB962C8B-B14F-4D97-AF65-F5344CB8AC3E}">
        <p14:creationId xmlns:p14="http://schemas.microsoft.com/office/powerpoint/2010/main" val="3961464926"/>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031" y="1449387"/>
            <a:ext cx="11048009" cy="4751387"/>
          </a:xfrm>
          <a:prstGeom prst="rect">
            <a:avLst/>
          </a:prstGeom>
        </p:spPr>
        <p:txBody>
          <a:bodyPr numCol="2" spcCol="288000">
            <a:normAutofit/>
          </a:bodyPr>
          <a:lstStyle>
            <a:lvl1pPr marL="342729" marR="0" indent="-342729" algn="l" defTabSz="609463" rtl="0" eaLnBrk="1" fontAlgn="auto" latinLnBrk="0" hangingPunct="1">
              <a:lnSpc>
                <a:spcPct val="120000"/>
              </a:lnSpc>
              <a:spcBef>
                <a:spcPts val="1199"/>
              </a:spcBef>
              <a:spcAft>
                <a:spcPts val="600"/>
              </a:spcAft>
              <a:buClr>
                <a:schemeClr val="tx2"/>
              </a:buClr>
              <a:buSzPct val="120000"/>
              <a:buFont typeface="Arial" panose="020B0604020202020204" pitchFamily="34" charset="0"/>
              <a:buChar char="•"/>
              <a:tabLst/>
              <a:defRPr sz="1999" baseline="0"/>
            </a:lvl1pPr>
            <a:lvl2pPr marL="360183" indent="-360183">
              <a:lnSpc>
                <a:spcPct val="120000"/>
              </a:lnSpc>
              <a:spcBef>
                <a:spcPts val="1199"/>
              </a:spcBef>
              <a:spcAft>
                <a:spcPts val="600"/>
              </a:spcAft>
              <a:buSzPct val="120000"/>
              <a:buFontTx/>
              <a:buBlip>
                <a:blip r:embed="rId2"/>
              </a:buBlip>
              <a:defRPr sz="1999" b="1" baseline="0"/>
            </a:lvl2pPr>
            <a:lvl3pPr marL="628336" indent="-268154">
              <a:lnSpc>
                <a:spcPct val="120000"/>
              </a:lnSpc>
              <a:spcBef>
                <a:spcPts val="0"/>
              </a:spcBef>
              <a:spcAft>
                <a:spcPts val="0"/>
              </a:spcAft>
              <a:buFont typeface="Arial" panose="020B0604020202020204" pitchFamily="34" charset="0"/>
              <a:buChar char="•"/>
              <a:defRPr sz="1599" baseline="0"/>
            </a:lvl3pPr>
            <a:lvl4pPr marL="894902" indent="-206272">
              <a:spcBef>
                <a:spcPts val="400"/>
              </a:spcBef>
              <a:spcAft>
                <a:spcPts val="0"/>
              </a:spcAft>
              <a:defRPr/>
            </a:lvl4pPr>
            <a:lvl5pPr marL="1163056" indent="-230073">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729" marR="0" lvl="0" indent="-342729" algn="l" defTabSz="609463" rtl="0" eaLnBrk="1" fontAlgn="auto" latinLnBrk="0" hangingPunct="1">
              <a:lnSpc>
                <a:spcPct val="120000"/>
              </a:lnSpc>
              <a:spcBef>
                <a:spcPts val="1199"/>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sp>
        <p:nvSpPr>
          <p:cNvPr id="2" name="Datumsplatzhalter 1"/>
          <p:cNvSpPr>
            <a:spLocks noGrp="1"/>
          </p:cNvSpPr>
          <p:nvPr>
            <p:ph type="dt" sz="half" idx="21"/>
          </p:nvPr>
        </p:nvSpPr>
        <p:spPr/>
        <p:txBody>
          <a:bodyPr/>
          <a:lstStyle>
            <a:lvl1pPr>
              <a:defRPr>
                <a:solidFill>
                  <a:schemeClr val="bg1"/>
                </a:solidFill>
              </a:defRPr>
            </a:lvl1pPr>
          </a:lstStyle>
          <a:p>
            <a:endParaRPr lang="de-CH" dirty="0"/>
          </a:p>
        </p:txBody>
      </p:sp>
      <p:sp>
        <p:nvSpPr>
          <p:cNvPr id="3" name="Fußzeilenplatzhalter 2"/>
          <p:cNvSpPr>
            <a:spLocks noGrp="1"/>
          </p:cNvSpPr>
          <p:nvPr>
            <p:ph type="ftr" sz="quarter" idx="22"/>
          </p:nvPr>
        </p:nvSpPr>
        <p:spPr/>
        <p:txBody>
          <a:bodyPr/>
          <a:lstStyle>
            <a:lvl1pPr>
              <a:defRPr>
                <a:solidFill>
                  <a:schemeClr val="bg1"/>
                </a:solidFill>
              </a:defRPr>
            </a:lvl1p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23"/>
          </p:nvPr>
        </p:nvSpPr>
        <p:spPr/>
        <p:txBody>
          <a:bodyPr/>
          <a:lstStyle>
            <a:lvl1pPr>
              <a:defRPr>
                <a:solidFill>
                  <a:schemeClr val="bg1"/>
                </a:solidFill>
              </a:defRPr>
            </a:lvl1pPr>
          </a:lstStyle>
          <a:p>
            <a:fld id="{61F2C2C2-1EE4-4D60-B09F-2141F977BFAA}" type="slidenum">
              <a:rPr lang="de-DE" altLang="de-DE" smtClean="0"/>
              <a:pPr/>
              <a:t>‹Nr.›</a:t>
            </a:fld>
            <a:endParaRPr lang="de-DE" altLang="de-DE"/>
          </a:p>
        </p:txBody>
      </p:sp>
      <p:pic>
        <p:nvPicPr>
          <p:cNvPr id="8" name="Grafik 7">
            <a:extLst>
              <a:ext uri="{FF2B5EF4-FFF2-40B4-BE49-F238E27FC236}">
                <a16:creationId xmlns:a16="http://schemas.microsoft.com/office/drawing/2014/main" id="{58E42ADF-F5B2-43B8-AB96-1EFC272BC7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52868" y="6244316"/>
            <a:ext cx="1339527" cy="629524"/>
          </a:xfrm>
          <a:prstGeom prst="rect">
            <a:avLst/>
          </a:prstGeom>
        </p:spPr>
      </p:pic>
      <p:sp>
        <p:nvSpPr>
          <p:cNvPr id="7" name="Titel 6"/>
          <p:cNvSpPr>
            <a:spLocks noGrp="1"/>
          </p:cNvSpPr>
          <p:nvPr>
            <p:ph type="title" hasCustomPrompt="1"/>
          </p:nvPr>
        </p:nvSpPr>
        <p:spPr>
          <a:xfrm>
            <a:off x="806031" y="333377"/>
            <a:ext cx="11048009" cy="287337"/>
          </a:xfrm>
        </p:spPr>
        <p:txBody>
          <a:bodyPr/>
          <a:lstStyle>
            <a:lvl1pPr>
              <a:defRPr lang="de-DE" sz="1999"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379164140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endParaRPr lang="de-CH" dirty="0"/>
          </a:p>
        </p:txBody>
      </p:sp>
      <p:sp>
        <p:nvSpPr>
          <p:cNvPr id="8" name="Fußzeilenplatzhalter 7"/>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9" name="Foliennummernplatzhalter 8"/>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2" name="Titel 1"/>
          <p:cNvSpPr>
            <a:spLocks noGrp="1"/>
          </p:cNvSpPr>
          <p:nvPr>
            <p:ph type="title"/>
          </p:nvPr>
        </p:nvSpPr>
        <p:spPr/>
        <p:txBody>
          <a:bodyPr/>
          <a:lstStyle/>
          <a:p>
            <a:r>
              <a:rPr lang="de-DE"/>
              <a:t>Mastertitelformat bearbeiten</a:t>
            </a:r>
            <a:endParaRPr lang="de-CH" dirty="0"/>
          </a:p>
        </p:txBody>
      </p:sp>
      <p:sp>
        <p:nvSpPr>
          <p:cNvPr id="5" name="Inhaltsplatzhalter 4"/>
          <p:cNvSpPr>
            <a:spLocks noGrp="1"/>
          </p:cNvSpPr>
          <p:nvPr>
            <p:ph sz="quarter" idx="21"/>
          </p:nvPr>
        </p:nvSpPr>
        <p:spPr>
          <a:xfrm>
            <a:off x="806031" y="1449389"/>
            <a:ext cx="11048009"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Tree>
    <p:extLst>
      <p:ext uri="{BB962C8B-B14F-4D97-AF65-F5344CB8AC3E}">
        <p14:creationId xmlns:p14="http://schemas.microsoft.com/office/powerpoint/2010/main" val="406602490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2" name="Titel 1"/>
          <p:cNvSpPr>
            <a:spLocks noGrp="1"/>
          </p:cNvSpPr>
          <p:nvPr>
            <p:ph type="title"/>
          </p:nvPr>
        </p:nvSpPr>
        <p:spPr>
          <a:xfrm>
            <a:off x="806031" y="692151"/>
            <a:ext cx="11048009" cy="684213"/>
          </a:xfrm>
        </p:spPr>
        <p:txBody>
          <a:bodyPr/>
          <a:lstStyle/>
          <a:p>
            <a:r>
              <a:rPr lang="de-DE"/>
              <a:t>Mastertitelformat bearbeiten</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7" name="Inhaltsplatzhalter 6"/>
          <p:cNvSpPr>
            <a:spLocks noGrp="1"/>
          </p:cNvSpPr>
          <p:nvPr>
            <p:ph sz="quarter" idx="26"/>
          </p:nvPr>
        </p:nvSpPr>
        <p:spPr>
          <a:xfrm>
            <a:off x="806031" y="1449389"/>
            <a:ext cx="536137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Inhaltsplatzhalter 6"/>
          <p:cNvSpPr>
            <a:spLocks noGrp="1"/>
          </p:cNvSpPr>
          <p:nvPr>
            <p:ph sz="quarter" idx="27"/>
          </p:nvPr>
        </p:nvSpPr>
        <p:spPr>
          <a:xfrm>
            <a:off x="6492669" y="1449389"/>
            <a:ext cx="536137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6012817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ergleich">
    <p:bg>
      <p:bgPr>
        <a:solidFill>
          <a:schemeClr val="bg1"/>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6"/>
          </p:nvPr>
        </p:nvSpPr>
        <p:spPr/>
        <p:txBody>
          <a:bodyPr/>
          <a:lstStyle/>
          <a:p>
            <a:endParaRPr lang="de-CH" dirty="0"/>
          </a:p>
        </p:txBody>
      </p:sp>
      <p:sp>
        <p:nvSpPr>
          <p:cNvPr id="7" name="Fußzeilenplatzhalter 6"/>
          <p:cNvSpPr>
            <a:spLocks noGrp="1"/>
          </p:cNvSpPr>
          <p:nvPr>
            <p:ph type="ftr" sz="quarter" idx="17"/>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8"/>
          </p:nvPr>
        </p:nvSpPr>
        <p:spPr/>
        <p:txBody>
          <a:bodyPr/>
          <a:lstStyle/>
          <a:p>
            <a:fld id="{61F2C2C2-1EE4-4D60-B09F-2141F977BFAA}" type="slidenum">
              <a:rPr lang="de-DE" altLang="de-DE" smtClean="0"/>
              <a:pPr/>
              <a:t>‹Nr.›</a:t>
            </a:fld>
            <a:endParaRPr lang="de-DE" altLang="de-DE"/>
          </a:p>
        </p:txBody>
      </p:sp>
      <p:sp>
        <p:nvSpPr>
          <p:cNvPr id="14" name="Textplatzhalter 16">
            <a:extLst>
              <a:ext uri="{FF2B5EF4-FFF2-40B4-BE49-F238E27FC236}">
                <a16:creationId xmlns:a16="http://schemas.microsoft.com/office/drawing/2014/main" id="{19B420C7-7824-4382-99B3-E842F4995AC4}"/>
              </a:ext>
            </a:extLst>
          </p:cNvPr>
          <p:cNvSpPr>
            <a:spLocks noGrp="1"/>
          </p:cNvSpPr>
          <p:nvPr>
            <p:ph type="body" sz="quarter" idx="20" hasCustomPrompt="1"/>
          </p:nvPr>
        </p:nvSpPr>
        <p:spPr>
          <a:xfrm>
            <a:off x="806031" y="1449389"/>
            <a:ext cx="5361783" cy="358775"/>
          </a:xfrm>
          <a:prstGeom prst="rect">
            <a:avLst/>
          </a:prstGeom>
        </p:spPr>
        <p:txBody>
          <a:bodyPr tIns="0" bIns="0" anchor="ctr" anchorCtr="0">
            <a:normAutofit/>
          </a:bodyPr>
          <a:lstStyle>
            <a:lvl1pPr marL="0" indent="0">
              <a:buNone/>
              <a:defRPr sz="1999" b="1"/>
            </a:lvl1pPr>
            <a:lvl2pPr marL="456971" indent="0">
              <a:buNone/>
              <a:defRPr/>
            </a:lvl2pPr>
          </a:lstStyle>
          <a:p>
            <a:pPr lvl="0"/>
            <a:r>
              <a:rPr lang="de-DE" dirty="0"/>
              <a:t>Überschrift</a:t>
            </a:r>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2" hasCustomPrompt="1"/>
          </p:nvPr>
        </p:nvSpPr>
        <p:spPr>
          <a:xfrm>
            <a:off x="6501686" y="1449389"/>
            <a:ext cx="5351180" cy="358775"/>
          </a:xfrm>
          <a:prstGeom prst="rect">
            <a:avLst/>
          </a:prstGeom>
        </p:spPr>
        <p:txBody>
          <a:bodyPr tIns="0" bIns="0" anchor="ctr" anchorCtr="0">
            <a:normAutofit/>
          </a:bodyPr>
          <a:lstStyle>
            <a:lvl1pPr marL="0" indent="0">
              <a:buNone/>
              <a:defRPr sz="1999" b="1"/>
            </a:lvl1pPr>
            <a:lvl2pPr marL="456971" indent="0">
              <a:buNone/>
              <a:defRPr/>
            </a:lvl2pPr>
          </a:lstStyle>
          <a:p>
            <a:pPr lvl="0"/>
            <a:r>
              <a:rPr lang="de-DE" dirty="0"/>
              <a:t>Überschrift</a:t>
            </a:r>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29" y="334040"/>
            <a:ext cx="11048010"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2" name="Titel 1"/>
          <p:cNvSpPr>
            <a:spLocks noGrp="1"/>
          </p:cNvSpPr>
          <p:nvPr>
            <p:ph type="title"/>
          </p:nvPr>
        </p:nvSpPr>
        <p:spPr/>
        <p:txBody>
          <a:bodyPr/>
          <a:lstStyle/>
          <a:p>
            <a:r>
              <a:rPr lang="de-DE"/>
              <a:t>Mastertitelformat bearbeiten</a:t>
            </a:r>
            <a:endParaRPr lang="de-CH"/>
          </a:p>
        </p:txBody>
      </p:sp>
      <p:sp>
        <p:nvSpPr>
          <p:cNvPr id="5" name="Inhaltsplatzhalter 4"/>
          <p:cNvSpPr>
            <a:spLocks noGrp="1"/>
          </p:cNvSpPr>
          <p:nvPr>
            <p:ph sz="quarter" idx="25"/>
          </p:nvPr>
        </p:nvSpPr>
        <p:spPr>
          <a:xfrm>
            <a:off x="806031" y="1881189"/>
            <a:ext cx="5361371"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4"/>
          <p:cNvSpPr>
            <a:spLocks noGrp="1"/>
          </p:cNvSpPr>
          <p:nvPr>
            <p:ph sz="quarter" idx="26"/>
          </p:nvPr>
        </p:nvSpPr>
        <p:spPr>
          <a:xfrm>
            <a:off x="6491083" y="1881189"/>
            <a:ext cx="5361371" cy="4319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875442445"/>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11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 und Bild hoch">
    <p:spTree>
      <p:nvGrpSpPr>
        <p:cNvPr id="1" name=""/>
        <p:cNvGrpSpPr/>
        <p:nvPr/>
      </p:nvGrpSpPr>
      <p:grpSpPr>
        <a:xfrm>
          <a:off x="0" y="0"/>
          <a:ext cx="0" cy="0"/>
          <a:chOff x="0" y="0"/>
          <a:chExt cx="0" cy="0"/>
        </a:xfrm>
      </p:grpSpPr>
      <p:sp>
        <p:nvSpPr>
          <p:cNvPr id="10" name="Bildplatzhalter 7"/>
          <p:cNvSpPr>
            <a:spLocks noGrp="1"/>
          </p:cNvSpPr>
          <p:nvPr>
            <p:ph type="pic" sz="quarter" idx="21" hasCustomPrompt="1"/>
          </p:nvPr>
        </p:nvSpPr>
        <p:spPr>
          <a:xfrm>
            <a:off x="7427913" y="333375"/>
            <a:ext cx="4426127" cy="5867400"/>
          </a:xfrm>
          <a:prstGeom prst="rect">
            <a:avLst/>
          </a:prstGeom>
          <a:solidFill>
            <a:schemeClr val="bg2"/>
          </a:solidFill>
        </p:spPr>
        <p:txBody>
          <a:bodyPr lIns="216000" tIns="108000">
            <a:normAutofit/>
          </a:bodyPr>
          <a:lstStyle>
            <a:lvl1pPr marL="0" indent="0">
              <a:buNone/>
              <a:defRPr sz="1999" baseline="0"/>
            </a:lvl1pPr>
          </a:lstStyle>
          <a:p>
            <a:r>
              <a:rPr lang="de-CH" dirty="0"/>
              <a:t>Bild über das Bild-Icon einfügen</a:t>
            </a:r>
          </a:p>
        </p:txBody>
      </p:sp>
      <p:sp>
        <p:nvSpPr>
          <p:cNvPr id="3" name="Datumsplatzhalter 2"/>
          <p:cNvSpPr>
            <a:spLocks noGrp="1"/>
          </p:cNvSpPr>
          <p:nvPr>
            <p:ph type="dt" sz="half" idx="10"/>
          </p:nvPr>
        </p:nvSpPr>
        <p:spPr/>
        <p:txBody>
          <a:bodyPr/>
          <a:lstStyle/>
          <a:p>
            <a:endParaRPr lang="de-CH" dirty="0"/>
          </a:p>
        </p:txBody>
      </p:sp>
      <p:sp>
        <p:nvSpPr>
          <p:cNvPr id="4" name="Fußzeilenplatzhalter 3"/>
          <p:cNvSpPr>
            <a:spLocks noGrp="1"/>
          </p:cNvSpPr>
          <p:nvPr>
            <p:ph type="ftr" sz="quarter" idx="11"/>
          </p:nvPr>
        </p:nvSpPr>
        <p:spPr/>
        <p:txBody>
          <a:bodyPr/>
          <a:lstStyle/>
          <a:p>
            <a:pPr defTabSz="354707"/>
            <a:r>
              <a:rPr lang="de-DE"/>
              <a:t>Automation II</a:t>
            </a:r>
            <a:endParaRPr lang="de-DE" altLang="de-DE" dirty="0">
              <a:solidFill>
                <a:srgbClr val="D40032"/>
              </a:solidFill>
            </a:endParaRPr>
          </a:p>
        </p:txBody>
      </p:sp>
      <p:sp>
        <p:nvSpPr>
          <p:cNvPr id="5" name="Foliennummernplatzhalter 4"/>
          <p:cNvSpPr>
            <a:spLocks noGrp="1"/>
          </p:cNvSpPr>
          <p:nvPr>
            <p:ph type="sldNum" sz="quarter" idx="12"/>
          </p:nvPr>
        </p:nvSpPr>
        <p:spPr/>
        <p:txBody>
          <a:bodyPr/>
          <a:lstStyle/>
          <a:p>
            <a:fld id="{61F2C2C2-1EE4-4D60-B09F-2141F977BFAA}" type="slidenum">
              <a:rPr lang="de-DE" altLang="de-DE" smtClean="0"/>
              <a:pPr/>
              <a:t>‹Nr.›</a:t>
            </a:fld>
            <a:endParaRPr lang="de-DE" altLang="de-DE"/>
          </a:p>
        </p:txBody>
      </p:sp>
      <p:sp>
        <p:nvSpPr>
          <p:cNvPr id="11" name="Inhaltsplatzhalter 10"/>
          <p:cNvSpPr>
            <a:spLocks noGrp="1"/>
          </p:cNvSpPr>
          <p:nvPr>
            <p:ph sz="quarter" idx="22"/>
          </p:nvPr>
        </p:nvSpPr>
        <p:spPr>
          <a:xfrm>
            <a:off x="806030" y="1449389"/>
            <a:ext cx="6334001" cy="47513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030" y="334040"/>
            <a:ext cx="6334002" cy="286673"/>
          </a:xfrm>
          <a:prstGeom prst="rect">
            <a:avLst/>
          </a:prstGeom>
        </p:spPr>
        <p:txBody>
          <a:bodyPr lIns="0" tIns="0" rIns="0" bIns="0" anchor="ctr" anchorCtr="0">
            <a:normAutofit/>
          </a:bodyPr>
          <a:lstStyle>
            <a:lvl1pPr marL="0" indent="0">
              <a:buNone/>
              <a:defRPr sz="1999" b="1"/>
            </a:lvl1pPr>
            <a:lvl2pPr marL="456971" indent="0">
              <a:buNone/>
              <a:defRPr/>
            </a:lvl2pPr>
          </a:lstStyle>
          <a:p>
            <a:pPr lvl="0"/>
            <a:r>
              <a:rPr lang="de-DE" dirty="0"/>
              <a:t>Thema</a:t>
            </a:r>
          </a:p>
        </p:txBody>
      </p:sp>
      <p:sp>
        <p:nvSpPr>
          <p:cNvPr id="2" name="Titel 1"/>
          <p:cNvSpPr>
            <a:spLocks noGrp="1"/>
          </p:cNvSpPr>
          <p:nvPr>
            <p:ph type="title"/>
          </p:nvPr>
        </p:nvSpPr>
        <p:spPr>
          <a:xfrm>
            <a:off x="806031" y="692151"/>
            <a:ext cx="6334001" cy="684213"/>
          </a:xfrm>
        </p:spPr>
        <p:txBody>
          <a:bodyPr/>
          <a:lstStyle>
            <a:lvl1pPr>
              <a:lnSpc>
                <a:spcPct val="100000"/>
              </a:lnSpc>
              <a:defRPr sz="2799"/>
            </a:lvl1pPr>
          </a:lstStyle>
          <a:p>
            <a:r>
              <a:rPr lang="de-DE"/>
              <a:t>Mastertitelformat bearbeiten</a:t>
            </a:r>
            <a:endParaRPr lang="de-CH" dirty="0"/>
          </a:p>
        </p:txBody>
      </p:sp>
    </p:spTree>
    <p:extLst>
      <p:ext uri="{BB962C8B-B14F-4D97-AF65-F5344CB8AC3E}">
        <p14:creationId xmlns:p14="http://schemas.microsoft.com/office/powerpoint/2010/main" val="4175173210"/>
      </p:ext>
    </p:extLst>
  </p:cSld>
  <p:clrMapOvr>
    <a:masterClrMapping/>
  </p:clrMapOvr>
  <p:extLst>
    <p:ext uri="{DCECCB84-F9BA-43D5-87BE-67443E8EF086}">
      <p15:sldGuideLst xmlns:p15="http://schemas.microsoft.com/office/powerpoint/2012/main">
        <p15:guide id="1" pos="45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031" y="692151"/>
            <a:ext cx="11048009"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540" y="6454846"/>
            <a:ext cx="5872"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1083" y="6453187"/>
            <a:ext cx="3374892" cy="179388"/>
          </a:xfrm>
          <a:prstGeom prst="rect">
            <a:avLst/>
          </a:prstGeom>
        </p:spPr>
        <p:txBody>
          <a:bodyPr lIns="0" tIns="0" rIns="0" bIns="0"/>
          <a:lstStyle>
            <a:lvl1pPr algn="l">
              <a:defRPr sz="1199"/>
            </a:lvl1pPr>
          </a:lstStyle>
          <a:p>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031" y="6454846"/>
            <a:ext cx="5361371" cy="332663"/>
          </a:xfrm>
          <a:prstGeom prst="rect">
            <a:avLst/>
          </a:prstGeom>
        </p:spPr>
        <p:txBody>
          <a:bodyPr lIns="108000" tIns="0" rIns="0" bIns="0"/>
          <a:lstStyle>
            <a:lvl1pPr algn="l">
              <a:defRPr sz="1199"/>
            </a:lvl1pPr>
          </a:lstStyle>
          <a:p>
            <a:pPr defTabSz="354707"/>
            <a:r>
              <a:rPr lang="de-DE"/>
              <a:t>Automation II</a:t>
            </a:r>
            <a:endParaRPr lang="de-DE" altLang="de-DE" dirty="0">
              <a:solidFill>
                <a:srgbClr val="D40032"/>
              </a:solidFill>
            </a:endParaRPr>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856" y="6453188"/>
            <a:ext cx="537174" cy="179387"/>
          </a:xfrm>
          <a:prstGeom prst="rect">
            <a:avLst/>
          </a:prstGeom>
        </p:spPr>
        <p:txBody>
          <a:bodyPr lIns="0" tIns="0" rIns="108000" bIns="0"/>
          <a:lstStyle>
            <a:lvl1pPr algn="r">
              <a:defRPr sz="1199">
                <a:solidFill>
                  <a:schemeClr val="tx1"/>
                </a:solidFill>
              </a:defRPr>
            </a:lvl1pPr>
          </a:lstStyle>
          <a:p>
            <a:fld id="{61F2C2C2-1EE4-4D60-B09F-2141F977BFAA}" type="slidenum">
              <a:rPr lang="de-DE" altLang="de-DE" smtClean="0"/>
              <a:pPr/>
              <a:t>‹Nr.›</a:t>
            </a:fld>
            <a:endParaRPr lang="de-DE" altLang="de-DE"/>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752868" y="6244316"/>
            <a:ext cx="1339527" cy="629524"/>
          </a:xfrm>
          <a:prstGeom prst="rect">
            <a:avLst/>
          </a:prstGeom>
        </p:spPr>
      </p:pic>
      <p:sp>
        <p:nvSpPr>
          <p:cNvPr id="2" name="Textplatzhalter 1"/>
          <p:cNvSpPr>
            <a:spLocks noGrp="1"/>
          </p:cNvSpPr>
          <p:nvPr>
            <p:ph type="body" idx="1"/>
          </p:nvPr>
        </p:nvSpPr>
        <p:spPr>
          <a:xfrm>
            <a:off x="802540" y="1449389"/>
            <a:ext cx="11051498"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Tree>
    <p:extLst>
      <p:ext uri="{BB962C8B-B14F-4D97-AF65-F5344CB8AC3E}">
        <p14:creationId xmlns:p14="http://schemas.microsoft.com/office/powerpoint/2010/main" val="400617523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2" r:id="rId13"/>
    <p:sldLayoutId id="2147483739" r:id="rId14"/>
  </p:sldLayoutIdLst>
  <p:transition spd="slow">
    <p:wipe/>
  </p:transition>
  <p:hf hdr="0" dt="0"/>
  <p:txStyles>
    <p:titleStyle>
      <a:lvl1pPr algn="l" defTabSz="609463" rtl="0" eaLnBrk="1" latinLnBrk="0" hangingPunct="1">
        <a:lnSpc>
          <a:spcPct val="120000"/>
        </a:lnSpc>
        <a:spcBef>
          <a:spcPct val="0"/>
        </a:spcBef>
        <a:buNone/>
        <a:defRPr sz="3198" b="1" kern="1200" baseline="0">
          <a:solidFill>
            <a:schemeClr val="tx2"/>
          </a:solidFill>
          <a:latin typeface="+mj-lt"/>
          <a:ea typeface="+mj-ea"/>
          <a:cs typeface="+mj-cs"/>
        </a:defRPr>
      </a:lvl1pPr>
    </p:titleStyle>
    <p:bodyStyle>
      <a:lvl1pPr marL="251874" indent="-251874" algn="l" defTabSz="609463" rtl="0" eaLnBrk="1" latinLnBrk="0" hangingPunct="1">
        <a:spcBef>
          <a:spcPts val="1799"/>
        </a:spcBef>
        <a:buClr>
          <a:schemeClr val="tx2"/>
        </a:buClr>
        <a:buFont typeface="Arial" panose="020B0604020202020204" pitchFamily="34" charset="0"/>
        <a:buChar char="•"/>
        <a:defRPr sz="1999" kern="1200">
          <a:solidFill>
            <a:schemeClr val="tx1"/>
          </a:solidFill>
          <a:latin typeface="+mn-lt"/>
          <a:ea typeface="+mn-ea"/>
          <a:cs typeface="+mn-cs"/>
        </a:defRPr>
      </a:lvl1pPr>
      <a:lvl2pPr marL="503748" indent="-251874" algn="l" defTabSz="609463" rtl="0" eaLnBrk="1" latinLnBrk="0" hangingPunct="1">
        <a:spcBef>
          <a:spcPts val="1199"/>
        </a:spcBef>
        <a:buClr>
          <a:schemeClr val="tx1"/>
        </a:buClr>
        <a:buSzPct val="80000"/>
        <a:buFont typeface="Arial" panose="020B0604020202020204" pitchFamily="34" charset="0"/>
        <a:buChar char="•"/>
        <a:defRPr sz="1799" kern="1200">
          <a:solidFill>
            <a:schemeClr val="tx1"/>
          </a:solidFill>
          <a:latin typeface="+mn-lt"/>
          <a:ea typeface="+mn-ea"/>
          <a:cs typeface="+mn-cs"/>
        </a:defRPr>
      </a:lvl2pPr>
      <a:lvl3pPr marL="755622" indent="-251874" algn="l" defTabSz="609463" rtl="0" eaLnBrk="1" latinLnBrk="0" hangingPunct="1">
        <a:spcBef>
          <a:spcPts val="999"/>
        </a:spcBef>
        <a:buSzPct val="90000"/>
        <a:buFont typeface="Symbol" panose="05050102010706020507" pitchFamily="18" charset="2"/>
        <a:buChar char="-"/>
        <a:defRPr sz="1599" kern="1200">
          <a:solidFill>
            <a:schemeClr val="tx1"/>
          </a:solidFill>
          <a:latin typeface="+mn-lt"/>
          <a:ea typeface="+mn-ea"/>
          <a:cs typeface="+mn-cs"/>
        </a:defRPr>
      </a:lvl3pPr>
      <a:lvl4pPr marL="1007496" indent="-251874" algn="l" defTabSz="609463" rtl="0" eaLnBrk="1" latinLnBrk="0" hangingPunct="1">
        <a:spcBef>
          <a:spcPts val="600"/>
        </a:spcBef>
        <a:buFont typeface="Symbol" panose="05050102010706020507" pitchFamily="18" charset="2"/>
        <a:buChar char="-"/>
        <a:defRPr sz="1599" kern="1200">
          <a:solidFill>
            <a:schemeClr val="tx1"/>
          </a:solidFill>
          <a:latin typeface="+mn-lt"/>
          <a:ea typeface="+mn-ea"/>
          <a:cs typeface="+mn-cs"/>
        </a:defRPr>
      </a:lvl4pPr>
      <a:lvl5pPr marL="1259370" marR="0" indent="-251874" algn="l" defTabSz="609463" rtl="0" eaLnBrk="1" fontAlgn="auto" latinLnBrk="0" hangingPunct="1">
        <a:lnSpc>
          <a:spcPct val="120000"/>
        </a:lnSpc>
        <a:spcBef>
          <a:spcPts val="600"/>
        </a:spcBef>
        <a:spcAft>
          <a:spcPts val="0"/>
        </a:spcAft>
        <a:buClrTx/>
        <a:buSzTx/>
        <a:buFont typeface="Symbol" panose="05050102010706020507" pitchFamily="18" charset="2"/>
        <a:buChar char="-"/>
        <a:tabLst/>
        <a:defRPr sz="1599" kern="1200">
          <a:solidFill>
            <a:schemeClr val="tx1"/>
          </a:solidFill>
          <a:latin typeface="+mn-lt"/>
          <a:ea typeface="+mn-ea"/>
          <a:cs typeface="+mn-cs"/>
        </a:defRPr>
      </a:lvl5pPr>
      <a:lvl6pPr marL="1511244" indent="-251874" algn="l" defTabSz="610882" rtl="0" eaLnBrk="1" latinLnBrk="0" hangingPunct="1">
        <a:lnSpc>
          <a:spcPct val="120000"/>
        </a:lnSpc>
        <a:spcBef>
          <a:spcPts val="600"/>
        </a:spcBef>
        <a:buFont typeface="Symbol" panose="05050102010706020507" pitchFamily="18" charset="2"/>
        <a:buChar char="-"/>
        <a:defRPr sz="1599" kern="1200" baseline="0">
          <a:solidFill>
            <a:schemeClr val="tx1"/>
          </a:solidFill>
          <a:latin typeface="+mn-lt"/>
          <a:ea typeface="+mn-ea"/>
          <a:cs typeface="+mn-cs"/>
        </a:defRPr>
      </a:lvl6pPr>
      <a:lvl7pPr marL="1763118" indent="-251874" algn="l" defTabSz="609463" rtl="0" eaLnBrk="1" latinLnBrk="0" hangingPunct="1">
        <a:lnSpc>
          <a:spcPct val="120000"/>
        </a:lnSpc>
        <a:spcBef>
          <a:spcPts val="600"/>
        </a:spcBef>
        <a:buFont typeface="Symbol" panose="05050102010706020507" pitchFamily="18" charset="2"/>
        <a:buChar char="-"/>
        <a:defRPr sz="1599" kern="1200">
          <a:solidFill>
            <a:schemeClr val="tx1"/>
          </a:solidFill>
          <a:latin typeface="+mn-lt"/>
          <a:ea typeface="+mn-ea"/>
          <a:cs typeface="+mn-cs"/>
        </a:defRPr>
      </a:lvl7pPr>
      <a:lvl8pPr marL="4570970" indent="-304732" algn="l" defTabSz="609463" rtl="0" eaLnBrk="1" latinLnBrk="0" hangingPunct="1">
        <a:spcBef>
          <a:spcPct val="20000"/>
        </a:spcBef>
        <a:buFont typeface="Arial"/>
        <a:buChar char="•"/>
        <a:defRPr sz="2699" kern="1200">
          <a:solidFill>
            <a:schemeClr val="tx1"/>
          </a:solidFill>
          <a:latin typeface="+mn-lt"/>
          <a:ea typeface="+mn-ea"/>
          <a:cs typeface="+mn-cs"/>
        </a:defRPr>
      </a:lvl8pPr>
      <a:lvl9pPr marL="5180433" indent="-304732" algn="l" defTabSz="609463" rtl="0" eaLnBrk="1" latinLnBrk="0" hangingPunct="1">
        <a:spcBef>
          <a:spcPct val="20000"/>
        </a:spcBef>
        <a:buFont typeface="Arial"/>
        <a:buChar char="•"/>
        <a:defRPr sz="2699" kern="1200">
          <a:solidFill>
            <a:schemeClr val="tx1"/>
          </a:solidFill>
          <a:latin typeface="+mn-lt"/>
          <a:ea typeface="+mn-ea"/>
          <a:cs typeface="+mn-cs"/>
        </a:defRPr>
      </a:lvl9pPr>
    </p:bodyStyle>
    <p:otherStyle>
      <a:defPPr>
        <a:defRPr lang="de-DE"/>
      </a:defPPr>
      <a:lvl1pPr marL="0" algn="l" defTabSz="609463" rtl="0" eaLnBrk="1" latinLnBrk="0" hangingPunct="1">
        <a:defRPr sz="1399" kern="1200">
          <a:solidFill>
            <a:schemeClr val="tx1"/>
          </a:solidFill>
          <a:latin typeface="+mn-lt"/>
          <a:ea typeface="+mn-ea"/>
          <a:cs typeface="+mn-cs"/>
        </a:defRPr>
      </a:lvl1pPr>
      <a:lvl2pPr marL="609463" algn="l" defTabSz="609463" rtl="0" eaLnBrk="1" latinLnBrk="0" hangingPunct="1">
        <a:defRPr sz="1399" kern="1200">
          <a:solidFill>
            <a:schemeClr val="tx1"/>
          </a:solidFill>
          <a:latin typeface="+mn-lt"/>
          <a:ea typeface="+mn-ea"/>
          <a:cs typeface="+mn-cs"/>
        </a:defRPr>
      </a:lvl2pPr>
      <a:lvl3pPr marL="1218925" algn="l" defTabSz="609463" rtl="0" eaLnBrk="1" latinLnBrk="0" hangingPunct="1">
        <a:defRPr sz="1399" kern="1200">
          <a:solidFill>
            <a:schemeClr val="tx1"/>
          </a:solidFill>
          <a:latin typeface="+mn-lt"/>
          <a:ea typeface="+mn-ea"/>
          <a:cs typeface="+mn-cs"/>
        </a:defRPr>
      </a:lvl3pPr>
      <a:lvl4pPr marL="1828388" algn="l" defTabSz="609463" rtl="0" eaLnBrk="1" latinLnBrk="0" hangingPunct="1">
        <a:defRPr sz="1399" kern="1200">
          <a:solidFill>
            <a:schemeClr val="tx1"/>
          </a:solidFill>
          <a:latin typeface="+mn-lt"/>
          <a:ea typeface="+mn-ea"/>
          <a:cs typeface="+mn-cs"/>
        </a:defRPr>
      </a:lvl4pPr>
      <a:lvl5pPr marL="2437851" algn="l" defTabSz="609463" rtl="0" eaLnBrk="1" latinLnBrk="0" hangingPunct="1">
        <a:defRPr sz="1399" kern="1200">
          <a:solidFill>
            <a:schemeClr val="tx1"/>
          </a:solidFill>
          <a:latin typeface="+mn-lt"/>
          <a:ea typeface="+mn-ea"/>
          <a:cs typeface="+mn-cs"/>
        </a:defRPr>
      </a:lvl5pPr>
      <a:lvl6pPr marL="3047314" algn="l" defTabSz="609463" rtl="0" eaLnBrk="1" latinLnBrk="0" hangingPunct="1">
        <a:defRPr sz="1399" kern="1200">
          <a:solidFill>
            <a:schemeClr val="tx1"/>
          </a:solidFill>
          <a:latin typeface="+mn-lt"/>
          <a:ea typeface="+mn-ea"/>
          <a:cs typeface="+mn-cs"/>
        </a:defRPr>
      </a:lvl6pPr>
      <a:lvl7pPr marL="3656777" algn="l" defTabSz="609463" rtl="0" eaLnBrk="1" latinLnBrk="0" hangingPunct="1">
        <a:defRPr sz="1399" kern="1200">
          <a:solidFill>
            <a:schemeClr val="tx1"/>
          </a:solidFill>
          <a:latin typeface="+mn-lt"/>
          <a:ea typeface="+mn-ea"/>
          <a:cs typeface="+mn-cs"/>
        </a:defRPr>
      </a:lvl7pPr>
      <a:lvl8pPr marL="4266239" algn="l" defTabSz="609463" rtl="0" eaLnBrk="1" latinLnBrk="0" hangingPunct="1">
        <a:defRPr sz="1399" kern="1200">
          <a:solidFill>
            <a:schemeClr val="tx1"/>
          </a:solidFill>
          <a:latin typeface="+mn-lt"/>
          <a:ea typeface="+mn-ea"/>
          <a:cs typeface="+mn-cs"/>
        </a:defRPr>
      </a:lvl8pPr>
      <a:lvl9pPr marL="4875702" algn="l" defTabSz="609463"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endParaRPr lang="de-CH"/>
          </a:p>
        </p:txBody>
      </p:sp>
      <p:sp>
        <p:nvSpPr>
          <p:cNvPr id="3" name="Textplatzhalt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CH"/>
          </a:p>
        </p:txBody>
      </p:sp>
      <p:sp>
        <p:nvSpPr>
          <p:cNvPr id="5" name="Fußzeilenplatzhalt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CH"/>
              <a:t>Automation II</a:t>
            </a:r>
          </a:p>
        </p:txBody>
      </p:sp>
      <p:sp>
        <p:nvSpPr>
          <p:cNvPr id="6" name="Foliennummernplatzhalt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A065C8-95A9-46CE-8462-4ACAF4D5C6E3}" type="slidenum">
              <a:rPr lang="de-CH" smtClean="0"/>
              <a:t>‹Nr.›</a:t>
            </a:fld>
            <a:endParaRPr lang="de-CH"/>
          </a:p>
        </p:txBody>
      </p:sp>
    </p:spTree>
    <p:extLst>
      <p:ext uri="{BB962C8B-B14F-4D97-AF65-F5344CB8AC3E}">
        <p14:creationId xmlns:p14="http://schemas.microsoft.com/office/powerpoint/2010/main" val="415754928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2.xml"/></Relationships>
</file>

<file path=ppt/slides/_rels/slide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20.jpe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14.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2.emf"/><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31.emf"/><Relationship Id="rId5" Type="http://schemas.openxmlformats.org/officeDocument/2006/relationships/image" Target="../media/image30.png"/><Relationship Id="rId4" Type="http://schemas.openxmlformats.org/officeDocument/2006/relationships/image" Target="../media/image29.wmf"/></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35.jpe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www.suva.ch/" TargetMode="External"/><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31.emf"/><Relationship Id="rId5" Type="http://schemas.openxmlformats.org/officeDocument/2006/relationships/image" Target="../media/image39.png"/><Relationship Id="rId4" Type="http://schemas.openxmlformats.org/officeDocument/2006/relationships/image" Target="../media/image38.wmf"/></Relationships>
</file>

<file path=ppt/slides/_rels/slide31.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41.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40.jpeg"/><Relationship Id="rId2" Type="http://schemas.openxmlformats.org/officeDocument/2006/relationships/tags" Target="../tags/tag18.xml"/><Relationship Id="rId16" Type="http://schemas.openxmlformats.org/officeDocument/2006/relationships/image" Target="../media/image43.png"/><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notesSlide" Target="../notesSlides/notesSlide13.xml"/><Relationship Id="rId5" Type="http://schemas.openxmlformats.org/officeDocument/2006/relationships/tags" Target="../tags/tag21.xml"/><Relationship Id="rId15" Type="http://schemas.microsoft.com/office/2007/relationships/hdphoto" Target="../media/hdphoto1.wdp"/><Relationship Id="rId10" Type="http://schemas.openxmlformats.org/officeDocument/2006/relationships/slideLayout" Target="../slideLayouts/slideLayout13.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46.png"/><Relationship Id="rId4" Type="http://schemas.openxmlformats.org/officeDocument/2006/relationships/image" Target="../media/image45.jpeg"/></Relationships>
</file>

<file path=ppt/slides/_rels/slide3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48.emf"/></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630.png"/></Relationships>
</file>

<file path=ppt/slides/_rels/slide3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13.xml"/><Relationship Id="rId7" Type="http://schemas.openxmlformats.org/officeDocument/2006/relationships/image" Target="../media/image51.emf"/><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Videos/APAS_SchutzhautAbdichten.wmv" TargetMode="External"/><Relationship Id="rId5" Type="http://schemas.openxmlformats.org/officeDocument/2006/relationships/image" Target="../media/image50.png"/><Relationship Id="rId4" Type="http://schemas.openxmlformats.org/officeDocument/2006/relationships/notesSlide" Target="../notesSlides/notesSlide17.xml"/><Relationship Id="rId9" Type="http://schemas.openxmlformats.org/officeDocument/2006/relationships/image" Target="../media/image53.png"/></Relationships>
</file>

<file path=ppt/slides/_rels/slide3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55.png"/><Relationship Id="rId4" Type="http://schemas.openxmlformats.org/officeDocument/2006/relationships/image" Target="../media/image44.jpeg"/></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8" Type="http://schemas.openxmlformats.org/officeDocument/2006/relationships/hyperlink" Target="Videos/Tactile%20safety%20elements_MRKSystem.wmv" TargetMode="External"/><Relationship Id="rId3" Type="http://schemas.openxmlformats.org/officeDocument/2006/relationships/slideLayout" Target="../slideLayouts/slideLayout13.xml"/><Relationship Id="rId7" Type="http://schemas.openxmlformats.org/officeDocument/2006/relationships/image" Target="../media/image60.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1.png"/><Relationship Id="rId4" Type="http://schemas.openxmlformats.org/officeDocument/2006/relationships/notesSlide" Target="../notesSlides/notesSlide19.xml"/><Relationship Id="rId9" Type="http://schemas.openxmlformats.org/officeDocument/2006/relationships/image" Target="../media/image51.emf"/></Relationships>
</file>

<file path=ppt/slides/_rels/slide39.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1.emf"/><Relationship Id="rId3" Type="http://schemas.openxmlformats.org/officeDocument/2006/relationships/slideLayout" Target="../slideLayouts/slideLayout13.xml"/><Relationship Id="rId7" Type="http://schemas.microsoft.com/office/2007/relationships/hdphoto" Target="../media/hdphoto2.wdp"/><Relationship Id="rId12" Type="http://schemas.openxmlformats.org/officeDocument/2006/relationships/hyperlink" Target="Videos/UR_T&#252;rverkleidungAppBMW.wmv" TargetMode="Externa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63.jpeg"/><Relationship Id="rId11" Type="http://schemas.openxmlformats.org/officeDocument/2006/relationships/image" Target="../media/image67.png"/><Relationship Id="rId5" Type="http://schemas.openxmlformats.org/officeDocument/2006/relationships/image" Target="../media/image62.png"/><Relationship Id="rId10" Type="http://schemas.openxmlformats.org/officeDocument/2006/relationships/image" Target="../media/image66.jpeg"/><Relationship Id="rId4" Type="http://schemas.openxmlformats.org/officeDocument/2006/relationships/notesSlide" Target="../notesSlides/notesSlide20.xml"/><Relationship Id="rId9" Type="http://schemas.openxmlformats.org/officeDocument/2006/relationships/image" Target="../media/image65.emf"/></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suva.ch/" TargetMode="Externa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jpeg"/></Relationships>
</file>

<file path=ppt/slides/_rels/slide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72.jpeg"/></Relationships>
</file>

<file path=ppt/slides/_rels/slide4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slideLayout" Target="../slideLayouts/slideLayout13.xml"/><Relationship Id="rId7" Type="http://schemas.openxmlformats.org/officeDocument/2006/relationships/hyperlink" Target="Videos/Versaball_toolbox.wmv" TargetMode="Externa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74.jpg"/><Relationship Id="rId5" Type="http://schemas.openxmlformats.org/officeDocument/2006/relationships/image" Target="../media/image73.jpg"/><Relationship Id="rId4" Type="http://schemas.openxmlformats.org/officeDocument/2006/relationships/notesSlide" Target="../notesSlides/notesSlide23.xml"/><Relationship Id="rId9"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77.jpeg"/></Relationships>
</file>

<file path=ppt/slides/_rels/slide4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81.emf"/><Relationship Id="rId5" Type="http://schemas.openxmlformats.org/officeDocument/2006/relationships/image" Target="../media/image80.emf"/><Relationship Id="rId4" Type="http://schemas.openxmlformats.org/officeDocument/2006/relationships/image" Target="../media/image79.emf"/></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83.jpeg"/></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87.png"/></Relationships>
</file>

<file path=ppt/slides/_rels/slide49.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89.png"/></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7.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13.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8.jpeg"/></Relationships>
</file>

<file path=ppt/slides/_rels/slide5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hyperlink" Target="GTE_Kraftmesssystem/System%20B%20-%20AN013391-1.pdf" TargetMode="External"/><Relationship Id="rId3" Type="http://schemas.openxmlformats.org/officeDocument/2006/relationships/slideLayout" Target="../slideLayouts/slideLayout13.xml"/><Relationship Id="rId7" Type="http://schemas.openxmlformats.org/officeDocument/2006/relationships/image" Target="../media/image93.png"/><Relationship Id="rId12" Type="http://schemas.openxmlformats.org/officeDocument/2006/relationships/hyperlink" Target="GTE_Kraftmesssystem/System%20A%20_%20AN013390-1.pdf" TargetMode="External"/><Relationship Id="rId2" Type="http://schemas.openxmlformats.org/officeDocument/2006/relationships/video" Target="../media/media5.mp4"/><Relationship Id="rId16" Type="http://schemas.openxmlformats.org/officeDocument/2006/relationships/image" Target="../media/image99.png"/><Relationship Id="rId1" Type="http://schemas.microsoft.com/office/2007/relationships/media" Target="../media/media5.mp4"/><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hyperlink" Target="Filme/Messtechnik%20f&#252;r%20kollaborierende%20Roboter%20von%20GTE.mp4" TargetMode="External"/><Relationship Id="rId10" Type="http://schemas.openxmlformats.org/officeDocument/2006/relationships/image" Target="../media/image96.png"/><Relationship Id="rId4" Type="http://schemas.openxmlformats.org/officeDocument/2006/relationships/notesSlide" Target="../notesSlides/notesSlide31.xml"/><Relationship Id="rId9" Type="http://schemas.openxmlformats.org/officeDocument/2006/relationships/image" Target="../media/image95.png"/><Relationship Id="rId14" Type="http://schemas.openxmlformats.org/officeDocument/2006/relationships/image" Target="../media/image98.png"/></Relationships>
</file>

<file path=ppt/slides/_rels/slide52.xml.rels><?xml version="1.0" encoding="UTF-8" standalone="yes"?>
<Relationships xmlns="http://schemas.openxmlformats.org/package/2006/relationships"><Relationship Id="rId8" Type="http://schemas.openxmlformats.org/officeDocument/2006/relationships/hyperlink" Target="https://www.bghm.de/arbeitsschuetzer/fachinformationen/maschinen/robotik/" TargetMode="External"/><Relationship Id="rId13" Type="http://schemas.microsoft.com/office/2007/relationships/hdphoto" Target="../media/hdphoto3.wdp"/><Relationship Id="rId3" Type="http://schemas.openxmlformats.org/officeDocument/2006/relationships/image" Target="../media/image101.png"/><Relationship Id="rId7" Type="http://schemas.openxmlformats.org/officeDocument/2006/relationships/hyperlink" Target="Dokumente/209_074.pdf" TargetMode="External"/><Relationship Id="rId12" Type="http://schemas.openxmlformats.org/officeDocument/2006/relationships/image" Target="../media/image106.png"/><Relationship Id="rId2" Type="http://schemas.openxmlformats.org/officeDocument/2006/relationships/image" Target="../media/image100.png"/><Relationship Id="rId1" Type="http://schemas.openxmlformats.org/officeDocument/2006/relationships/slideLayout" Target="../slideLayouts/slideLayout14.xml"/><Relationship Id="rId6" Type="http://schemas.openxmlformats.org/officeDocument/2006/relationships/image" Target="../media/image102.png"/><Relationship Id="rId11" Type="http://schemas.openxmlformats.org/officeDocument/2006/relationships/image" Target="../media/image105.png"/><Relationship Id="rId5" Type="http://schemas.openxmlformats.org/officeDocument/2006/relationships/hyperlink" Target="Dokumente/080_FBHM_Kollaborierende_Robotersysteme.pdf" TargetMode="External"/><Relationship Id="rId10" Type="http://schemas.openxmlformats.org/officeDocument/2006/relationships/image" Target="../media/image104.jpeg"/><Relationship Id="rId4" Type="http://schemas.openxmlformats.org/officeDocument/2006/relationships/hyperlink" Target="Dokumente/KoBaRoboter_Checkliste.pdf" TargetMode="External"/><Relationship Id="rId9" Type="http://schemas.openxmlformats.org/officeDocument/2006/relationships/image" Target="../media/image103.jpeg"/><Relationship Id="rId14" Type="http://schemas.openxmlformats.org/officeDocument/2006/relationships/hyperlink" Target="Dokumente/Robotik_%20BGHM.pdf"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jpe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110.png"/><Relationship Id="rId5" Type="http://schemas.openxmlformats.org/officeDocument/2006/relationships/image" Target="../media/image109.jpeg"/><Relationship Id="rId4" Type="http://schemas.openxmlformats.org/officeDocument/2006/relationships/image" Target="../media/image108.jpeg"/></Relationships>
</file>

<file path=ppt/slides/_rels/slide5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DEA89-7970-39B5-FB7D-E8A78DC83D4C}"/>
              </a:ext>
            </a:extLst>
          </p:cNvPr>
          <p:cNvSpPr>
            <a:spLocks noGrp="1"/>
          </p:cNvSpPr>
          <p:nvPr>
            <p:ph type="title"/>
          </p:nvPr>
        </p:nvSpPr>
        <p:spPr/>
        <p:txBody>
          <a:bodyPr>
            <a:normAutofit/>
          </a:bodyPr>
          <a:lstStyle/>
          <a:p>
            <a:r>
              <a:rPr lang="de-CH" sz="3600" dirty="0"/>
              <a:t>LERNEINHEIT 4:</a:t>
            </a:r>
            <a:endParaRPr lang="de-CH" dirty="0"/>
          </a:p>
        </p:txBody>
      </p:sp>
      <p:sp>
        <p:nvSpPr>
          <p:cNvPr id="3" name="Textplatzhalter 2">
            <a:extLst>
              <a:ext uri="{FF2B5EF4-FFF2-40B4-BE49-F238E27FC236}">
                <a16:creationId xmlns:a16="http://schemas.microsoft.com/office/drawing/2014/main" id="{25683B8D-F1F5-BE3F-CBF8-5E82B666473F}"/>
              </a:ext>
            </a:extLst>
          </p:cNvPr>
          <p:cNvSpPr>
            <a:spLocks noGrp="1"/>
          </p:cNvSpPr>
          <p:nvPr>
            <p:ph type="body" sz="quarter" idx="14"/>
          </p:nvPr>
        </p:nvSpPr>
        <p:spPr/>
        <p:txBody>
          <a:bodyPr/>
          <a:lstStyle/>
          <a:p>
            <a:r>
              <a:rPr lang="de-CH" dirty="0"/>
              <a:t>Automation II</a:t>
            </a:r>
          </a:p>
        </p:txBody>
      </p:sp>
      <p:sp>
        <p:nvSpPr>
          <p:cNvPr id="4" name="Textplatzhalter 3">
            <a:extLst>
              <a:ext uri="{FF2B5EF4-FFF2-40B4-BE49-F238E27FC236}">
                <a16:creationId xmlns:a16="http://schemas.microsoft.com/office/drawing/2014/main" id="{501DC283-ED45-EC2B-F441-094DFC027205}"/>
              </a:ext>
            </a:extLst>
          </p:cNvPr>
          <p:cNvSpPr>
            <a:spLocks noGrp="1"/>
          </p:cNvSpPr>
          <p:nvPr>
            <p:ph type="body" sz="quarter" idx="19"/>
          </p:nvPr>
        </p:nvSpPr>
        <p:spPr>
          <a:xfrm>
            <a:off x="4836181" y="4408443"/>
            <a:ext cx="6787409" cy="860307"/>
          </a:xfrm>
        </p:spPr>
        <p:txBody>
          <a:bodyPr>
            <a:normAutofit/>
          </a:bodyPr>
          <a:lstStyle/>
          <a:p>
            <a:r>
              <a:rPr lang="de-CH" sz="2000" dirty="0"/>
              <a:t>Sicherheit in der Automatisierungstechnik und Robotik</a:t>
            </a:r>
          </a:p>
        </p:txBody>
      </p:sp>
      <p:sp>
        <p:nvSpPr>
          <p:cNvPr id="5" name="Textplatzhalter 4">
            <a:extLst>
              <a:ext uri="{FF2B5EF4-FFF2-40B4-BE49-F238E27FC236}">
                <a16:creationId xmlns:a16="http://schemas.microsoft.com/office/drawing/2014/main" id="{A587C262-82FC-2230-44CF-DDAFEE12D3C4}"/>
              </a:ext>
            </a:extLst>
          </p:cNvPr>
          <p:cNvSpPr>
            <a:spLocks noGrp="1"/>
          </p:cNvSpPr>
          <p:nvPr>
            <p:ph type="body" sz="quarter" idx="20"/>
          </p:nvPr>
        </p:nvSpPr>
        <p:spPr/>
        <p:txBody>
          <a:bodyPr/>
          <a:lstStyle/>
          <a:p>
            <a:r>
              <a:rPr lang="de-CH" dirty="0"/>
              <a:t>Prof. Dr.-Ing. Matthias Scholer</a:t>
            </a:r>
          </a:p>
        </p:txBody>
      </p:sp>
    </p:spTree>
    <p:extLst>
      <p:ext uri="{BB962C8B-B14F-4D97-AF65-F5344CB8AC3E}">
        <p14:creationId xmlns:p14="http://schemas.microsoft.com/office/powerpoint/2010/main" val="625374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5D64DCA-58D3-7BD3-43EB-071566090D21}"/>
              </a:ext>
            </a:extLst>
          </p:cNvPr>
          <p:cNvSpPr>
            <a:spLocks noGrp="1"/>
          </p:cNvSpPr>
          <p:nvPr>
            <p:ph idx="1"/>
          </p:nvPr>
        </p:nvSpPr>
        <p:spPr>
          <a:xfrm>
            <a:off x="554590" y="1282612"/>
            <a:ext cx="5500482" cy="4832352"/>
          </a:xfrm>
        </p:spPr>
        <p:txBody>
          <a:bodyPr/>
          <a:lstStyle/>
          <a:p>
            <a:pPr marL="226695" indent="-226695" algn="just">
              <a:lnSpc>
                <a:spcPct val="107000"/>
              </a:lnSpc>
              <a:spcAft>
                <a:spcPts val="300"/>
              </a:spcAft>
            </a:pPr>
            <a:r>
              <a:rPr lang="de-CH" sz="1600" dirty="0">
                <a:effectLst/>
                <a:latin typeface="Arial" panose="020B0604020202020204" pitchFamily="34" charset="0"/>
                <a:ea typeface="Arial" panose="020B0604020202020204" pitchFamily="34" charset="0"/>
                <a:cs typeface="Times New Roman" panose="02020603050405020304" pitchFamily="18" charset="0"/>
              </a:rPr>
              <a:t>Allgemei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Risikobeurteilung für alle Gefährdungen: Dieser iterative Prozess muss alle Gefahren und Risiken berücksichtigen, bis keine oder nur annehmbar geringe Restrisiken verbleiben.</a:t>
            </a:r>
          </a:p>
          <a:p>
            <a:pPr marL="226695" indent="-226695" algn="just">
              <a:lnSpc>
                <a:spcPct val="107000"/>
              </a:lnSpc>
              <a:spcBef>
                <a:spcPts val="300"/>
              </a:spcBef>
              <a:spcAft>
                <a:spcPts val="300"/>
              </a:spcAft>
            </a:pPr>
            <a:r>
              <a:rPr lang="de-CH" sz="1600" dirty="0">
                <a:effectLst/>
                <a:latin typeface="Arial" panose="020B0604020202020204" pitchFamily="34" charset="0"/>
                <a:ea typeface="Arial" panose="020B0604020202020204" pitchFamily="34" charset="0"/>
                <a:cs typeface="Times New Roman" panose="02020603050405020304" pitchFamily="18" charset="0"/>
              </a:rPr>
              <a:t>Prozess der Risikobeurteilung</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Festlegung der Funktionen der Maschine.</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finition </a:t>
            </a: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vernünftigerweise vorhersehbare Fehlanwendungen und Störunge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Identifizierung von Gefährdungen (mechanische, elektrische, thermische etc.), die von der Maschine ausgehen. </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Einschätzung der von den Gefährdungen ausgehenden Risiken. Diese hängen vom Schadensausmaß und von der Eintrittswahrscheinlichkeit des Schadens ab.</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okumentieren der Ergebnisse in der Risikobeurteilung.</a:t>
            </a:r>
          </a:p>
          <a:p>
            <a:endParaRPr lang="de-CH" sz="1600" dirty="0"/>
          </a:p>
        </p:txBody>
      </p:sp>
      <p:sp>
        <p:nvSpPr>
          <p:cNvPr id="3" name="Titel 2">
            <a:extLst>
              <a:ext uri="{FF2B5EF4-FFF2-40B4-BE49-F238E27FC236}">
                <a16:creationId xmlns:a16="http://schemas.microsoft.com/office/drawing/2014/main" id="{88EA8D82-200C-F62B-C08D-4E7C17B6A48E}"/>
              </a:ext>
            </a:extLst>
          </p:cNvPr>
          <p:cNvSpPr>
            <a:spLocks noGrp="1"/>
          </p:cNvSpPr>
          <p:nvPr>
            <p:ph type="title"/>
          </p:nvPr>
        </p:nvSpPr>
        <p:spPr/>
        <p:txBody>
          <a:bodyPr>
            <a:normAutofit fontScale="90000"/>
          </a:bodyPr>
          <a:lstStyle/>
          <a:p>
            <a:r>
              <a:rPr lang="de-CH" dirty="0"/>
              <a:t>Prozess der Risikobeurteilung</a:t>
            </a:r>
          </a:p>
        </p:txBody>
      </p:sp>
      <p:sp>
        <p:nvSpPr>
          <p:cNvPr id="4" name="Fußzeilenplatzhalter 3">
            <a:extLst>
              <a:ext uri="{FF2B5EF4-FFF2-40B4-BE49-F238E27FC236}">
                <a16:creationId xmlns:a16="http://schemas.microsoft.com/office/drawing/2014/main" id="{62319339-7B27-0145-0075-CB1A6E3E7C11}"/>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6CCCE0C7-AAED-3DB3-4581-20AF364257F0}"/>
              </a:ext>
            </a:extLst>
          </p:cNvPr>
          <p:cNvSpPr>
            <a:spLocks noGrp="1"/>
          </p:cNvSpPr>
          <p:nvPr>
            <p:ph type="sldNum" sz="quarter" idx="16"/>
          </p:nvPr>
        </p:nvSpPr>
        <p:spPr/>
        <p:txBody>
          <a:bodyPr/>
          <a:lstStyle/>
          <a:p>
            <a:fld id="{61F2C2C2-1EE4-4D60-B09F-2141F977BFAA}" type="slidenum">
              <a:rPr lang="de-DE" altLang="de-DE" smtClean="0"/>
              <a:pPr/>
              <a:t>10</a:t>
            </a:fld>
            <a:endParaRPr lang="de-DE" altLang="de-DE"/>
          </a:p>
        </p:txBody>
      </p:sp>
      <p:pic>
        <p:nvPicPr>
          <p:cNvPr id="6" name="Grafik 5">
            <a:extLst>
              <a:ext uri="{FF2B5EF4-FFF2-40B4-BE49-F238E27FC236}">
                <a16:creationId xmlns:a16="http://schemas.microsoft.com/office/drawing/2014/main" id="{A88E3760-2357-8802-F981-887195921A53}"/>
              </a:ext>
            </a:extLst>
          </p:cNvPr>
          <p:cNvPicPr>
            <a:picLocks noChangeAspect="1"/>
          </p:cNvPicPr>
          <p:nvPr/>
        </p:nvPicPr>
        <p:blipFill>
          <a:blip r:embed="rId2"/>
          <a:stretch>
            <a:fillRect/>
          </a:stretch>
        </p:blipFill>
        <p:spPr>
          <a:xfrm>
            <a:off x="6055072" y="1111175"/>
            <a:ext cx="6136928" cy="4944185"/>
          </a:xfrm>
          <a:prstGeom prst="rect">
            <a:avLst/>
          </a:prstGeom>
        </p:spPr>
      </p:pic>
    </p:spTree>
    <p:extLst>
      <p:ext uri="{BB962C8B-B14F-4D97-AF65-F5344CB8AC3E}">
        <p14:creationId xmlns:p14="http://schemas.microsoft.com/office/powerpoint/2010/main" val="176412560"/>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4C4EA80-9543-1BD8-2DC3-B06A30409C0E}"/>
              </a:ext>
            </a:extLst>
          </p:cNvPr>
          <p:cNvSpPr>
            <a:spLocks noGrp="1"/>
          </p:cNvSpPr>
          <p:nvPr>
            <p:ph idx="1"/>
          </p:nvPr>
        </p:nvSpPr>
        <p:spPr>
          <a:xfrm>
            <a:off x="624419" y="1182793"/>
            <a:ext cx="11343804" cy="4832352"/>
          </a:xfrm>
        </p:spPr>
        <p:txBody>
          <a:bodyPr/>
          <a:lstStyle/>
          <a:p>
            <a:pPr algn="just">
              <a:lnSpc>
                <a:spcPct val="107000"/>
              </a:lnSpc>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Die Risikobeurteilung beginnt mit der Festlegung der Funktionen der Maschine. Diese können sei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ie Spezifikation der Maschine (was wird produziert, maximale Produktionsleistung, vorgesehene Materialien), räumliche Grenzen und voraussichtlicher Einsatzort</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ie geplante Lebensdauer</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ie beabsichtigten Funktionen und Betriebsarte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r bestimmungsgemäße Gebrauch, aber auch das unbeabsichtigte Verhalten der Bedienperson oder die</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vernünftigerweise vorhersehbare Fehlanwendung (Missbrauch) der Maschine</a:t>
            </a:r>
          </a:p>
          <a:p>
            <a:pPr lvl="0" algn="just">
              <a:lnSpc>
                <a:spcPct val="107000"/>
              </a:lnSpc>
              <a:spcBef>
                <a:spcPts val="300"/>
              </a:spcBef>
              <a:spcAft>
                <a:spcPts val="300"/>
              </a:spcAft>
              <a:buClr>
                <a:srgbClr val="8C195F"/>
              </a:buClr>
            </a:pPr>
            <a:endPar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endParaRPr>
          </a:p>
          <a:p>
            <a:endParaRPr lang="de-CH" dirty="0"/>
          </a:p>
        </p:txBody>
      </p:sp>
      <p:sp>
        <p:nvSpPr>
          <p:cNvPr id="3" name="Titel 2">
            <a:extLst>
              <a:ext uri="{FF2B5EF4-FFF2-40B4-BE49-F238E27FC236}">
                <a16:creationId xmlns:a16="http://schemas.microsoft.com/office/drawing/2014/main" id="{6EB920F7-5B52-5000-A8C9-9EB348C7F4D5}"/>
              </a:ext>
            </a:extLst>
          </p:cNvPr>
          <p:cNvSpPr>
            <a:spLocks noGrp="1"/>
          </p:cNvSpPr>
          <p:nvPr>
            <p:ph type="title"/>
          </p:nvPr>
        </p:nvSpPr>
        <p:spPr/>
        <p:txBody>
          <a:bodyPr/>
          <a:lstStyle/>
          <a:p>
            <a:r>
              <a:rPr lang="de-CH" sz="2900" dirty="0"/>
              <a:t>Funktionen der Maschine</a:t>
            </a:r>
          </a:p>
        </p:txBody>
      </p:sp>
      <p:sp>
        <p:nvSpPr>
          <p:cNvPr id="4" name="Fußzeilenplatzhalter 3">
            <a:extLst>
              <a:ext uri="{FF2B5EF4-FFF2-40B4-BE49-F238E27FC236}">
                <a16:creationId xmlns:a16="http://schemas.microsoft.com/office/drawing/2014/main" id="{2638AF5D-DF57-47A5-55FA-E67E4E2E8127}"/>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D3E6681-283C-EB16-C7A5-F139086C311D}"/>
              </a:ext>
            </a:extLst>
          </p:cNvPr>
          <p:cNvSpPr>
            <a:spLocks noGrp="1"/>
          </p:cNvSpPr>
          <p:nvPr>
            <p:ph type="sldNum" sz="quarter" idx="16"/>
          </p:nvPr>
        </p:nvSpPr>
        <p:spPr/>
        <p:txBody>
          <a:bodyPr/>
          <a:lstStyle/>
          <a:p>
            <a:fld id="{61F2C2C2-1EE4-4D60-B09F-2141F977BFAA}" type="slidenum">
              <a:rPr lang="de-DE" altLang="de-DE" smtClean="0"/>
              <a:pPr/>
              <a:t>11</a:t>
            </a:fld>
            <a:endParaRPr lang="de-DE" altLang="de-DE"/>
          </a:p>
        </p:txBody>
      </p:sp>
    </p:spTree>
    <p:extLst>
      <p:ext uri="{BB962C8B-B14F-4D97-AF65-F5344CB8AC3E}">
        <p14:creationId xmlns:p14="http://schemas.microsoft.com/office/powerpoint/2010/main" val="648259259"/>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6598D84-E809-4E35-B649-FB487BBC1A3E}"/>
              </a:ext>
            </a:extLst>
          </p:cNvPr>
          <p:cNvSpPr>
            <a:spLocks noGrp="1"/>
          </p:cNvSpPr>
          <p:nvPr>
            <p:ph idx="1"/>
          </p:nvPr>
        </p:nvSpPr>
        <p:spPr>
          <a:xfrm>
            <a:off x="624419" y="1012824"/>
            <a:ext cx="11390103" cy="4832352"/>
          </a:xfrm>
        </p:spPr>
        <p:txBody>
          <a:bodyPr/>
          <a:lstStyle/>
          <a:p>
            <a:pPr algn="just">
              <a:lnSpc>
                <a:spcPct val="107000"/>
              </a:lnSpc>
              <a:spcBef>
                <a:spcPts val="300"/>
              </a:spcBef>
              <a:spcAft>
                <a:spcPts val="300"/>
              </a:spcAft>
            </a:pPr>
            <a:r>
              <a:rPr lang="de-CH" sz="1600" dirty="0">
                <a:effectLst/>
                <a:latin typeface="Arial" panose="020B0604020202020204" pitchFamily="34" charset="0"/>
                <a:ea typeface="Arial" panose="020B0604020202020204" pitchFamily="34" charset="0"/>
                <a:cs typeface="Times New Roman" panose="02020603050405020304" pitchFamily="18" charset="0"/>
              </a:rPr>
              <a:t>Das vernünftigerweise annehmbare, unbeabsichtigte Verhalten der Bedienperson oder die vorhersehbare Fehlanwendung können unter anderem sei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Verlust der Kontrolle der Bedienperson über die Maschine (besonders bei handgehaltenen oder beweglichen Maschine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reflexartiges Verhalten von Personen im Falle einer Fehlfunktion, eines Störfalls oder Ausfalls während des Gebrauchs der Maschine</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Fehlverhalten durch Konzentrationsmangel oder Unachtsamkeit</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Fehlverhalten, das bei der Durchführung einer Aufgabe auf die Wahl des „Weges des geringsten Widerstands“ zurückzuführen ist</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Verhalten unter dem Druck, die Maschine unter allen Umständen in Betrieb zu halte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Verhalten von bestimmten Personenkreisen (z. B. Kinder, Jugendliche, Menschen mit Behinderungen)</a:t>
            </a:r>
          </a:p>
          <a:p>
            <a:pPr algn="just">
              <a:lnSpc>
                <a:spcPct val="107000"/>
              </a:lnSpc>
              <a:spcBef>
                <a:spcPts val="300"/>
              </a:spcBef>
              <a:spcAft>
                <a:spcPts val="300"/>
              </a:spcAft>
            </a:pPr>
            <a:r>
              <a:rPr lang="de-CH" sz="1600" b="1" dirty="0">
                <a:effectLst/>
                <a:latin typeface="Arial" panose="020B0604020202020204" pitchFamily="34" charset="0"/>
                <a:ea typeface="Arial" panose="020B0604020202020204" pitchFamily="34" charset="0"/>
                <a:cs typeface="Times New Roman" panose="02020603050405020304" pitchFamily="18" charset="0"/>
              </a:rPr>
              <a:t>Zu erwartende Fehlfunktion und Störungen</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6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Ein hohes Gefahrenpotenzial geht von Fehlfunktionen und Störungen der Komponenten aus, die für die Betriebsfunktion relevant sind, insbesondere von der Steuerung. Beispiele:</a:t>
            </a:r>
          </a:p>
          <a:p>
            <a:pPr marL="846648" lvl="1" indent="-342900" algn="just">
              <a:lnSpc>
                <a:spcPct val="107000"/>
              </a:lnSpc>
              <a:spcBef>
                <a:spcPts val="300"/>
              </a:spcBef>
              <a:spcAft>
                <a:spcPts val="300"/>
              </a:spcAft>
              <a:buClr>
                <a:srgbClr val="8C195F"/>
              </a:buClr>
              <a:buFont typeface="Symbol" panose="05050102010706020507" pitchFamily="18" charset="2"/>
              <a:buChar char="-"/>
            </a:pPr>
            <a:r>
              <a:rPr lang="de-CH" sz="1600" dirty="0">
                <a:solidFill>
                  <a:schemeClr val="tx1"/>
                </a:solidFill>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Umkehren der Walzbewegung (sodass Hände eingezogen werden)</a:t>
            </a:r>
          </a:p>
          <a:p>
            <a:pPr marL="846648" lvl="1" indent="-342900" algn="just">
              <a:lnSpc>
                <a:spcPct val="107000"/>
              </a:lnSpc>
              <a:spcBef>
                <a:spcPts val="300"/>
              </a:spcBef>
              <a:spcAft>
                <a:spcPts val="300"/>
              </a:spcAft>
              <a:buClr>
                <a:srgbClr val="8C195F"/>
              </a:buClr>
              <a:buFont typeface="Symbol" panose="05050102010706020507" pitchFamily="18" charset="2"/>
              <a:buChar char="-"/>
            </a:pPr>
            <a:r>
              <a:rPr lang="de-CH" sz="1600" dirty="0">
                <a:solidFill>
                  <a:schemeClr val="tx1"/>
                </a:solidFill>
                <a:effectLst/>
                <a:latin typeface="Arial" panose="020B0604020202020204" pitchFamily="34" charset="0"/>
                <a:ea typeface="Arial" panose="020B0604020202020204" pitchFamily="34" charset="0"/>
                <a:cs typeface="Times New Roman" panose="02020603050405020304" pitchFamily="18" charset="0"/>
              </a:rPr>
              <a:t>Bewegung eines Roboters außerhalb seines programmierten Arbeitsbereichs</a:t>
            </a:r>
          </a:p>
          <a:p>
            <a:endParaRPr lang="de-CH" dirty="0"/>
          </a:p>
        </p:txBody>
      </p:sp>
      <p:sp>
        <p:nvSpPr>
          <p:cNvPr id="3" name="Titel 2">
            <a:extLst>
              <a:ext uri="{FF2B5EF4-FFF2-40B4-BE49-F238E27FC236}">
                <a16:creationId xmlns:a16="http://schemas.microsoft.com/office/drawing/2014/main" id="{BBCFB593-6637-DBD9-77C8-04AE1E18C2CB}"/>
              </a:ext>
            </a:extLst>
          </p:cNvPr>
          <p:cNvSpPr>
            <a:spLocks noGrp="1"/>
          </p:cNvSpPr>
          <p:nvPr>
            <p:ph type="title"/>
          </p:nvPr>
        </p:nvSpPr>
        <p:spPr/>
        <p:txBody>
          <a:bodyPr>
            <a:normAutofit fontScale="90000"/>
          </a:bodyPr>
          <a:lstStyle/>
          <a:p>
            <a:r>
              <a:rPr lang="de-CH" dirty="0"/>
              <a:t>Vernünftigerweise vorhersehbare Fehlanwendung</a:t>
            </a:r>
          </a:p>
        </p:txBody>
      </p:sp>
      <p:sp>
        <p:nvSpPr>
          <p:cNvPr id="4" name="Fußzeilenplatzhalter 3">
            <a:extLst>
              <a:ext uri="{FF2B5EF4-FFF2-40B4-BE49-F238E27FC236}">
                <a16:creationId xmlns:a16="http://schemas.microsoft.com/office/drawing/2014/main" id="{53474FEF-374B-7B26-0672-2AA639925CA5}"/>
              </a:ext>
            </a:extLst>
          </p:cNvPr>
          <p:cNvSpPr>
            <a:spLocks noGrp="1"/>
          </p:cNvSpPr>
          <p:nvPr>
            <p:ph type="ftr" sz="quarter" idx="15"/>
          </p:nvPr>
        </p:nvSpPr>
        <p:spPr>
          <a:xfrm>
            <a:off x="885558" y="6461313"/>
            <a:ext cx="8593666" cy="211045"/>
          </a:xfrm>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CA6E686C-6A49-74B8-985A-8BFF89448B37}"/>
              </a:ext>
            </a:extLst>
          </p:cNvPr>
          <p:cNvSpPr>
            <a:spLocks noGrp="1"/>
          </p:cNvSpPr>
          <p:nvPr>
            <p:ph type="sldNum" sz="quarter" idx="16"/>
          </p:nvPr>
        </p:nvSpPr>
        <p:spPr/>
        <p:txBody>
          <a:bodyPr/>
          <a:lstStyle/>
          <a:p>
            <a:fld id="{61F2C2C2-1EE4-4D60-B09F-2141F977BFAA}" type="slidenum">
              <a:rPr lang="de-DE" altLang="de-DE" smtClean="0"/>
              <a:pPr/>
              <a:t>12</a:t>
            </a:fld>
            <a:endParaRPr lang="de-DE" altLang="de-DE"/>
          </a:p>
        </p:txBody>
      </p:sp>
    </p:spTree>
    <p:extLst>
      <p:ext uri="{BB962C8B-B14F-4D97-AF65-F5344CB8AC3E}">
        <p14:creationId xmlns:p14="http://schemas.microsoft.com/office/powerpoint/2010/main" val="2162695565"/>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5C3E36B-75E8-F3FC-DAA5-53D91397D9C0}"/>
              </a:ext>
            </a:extLst>
          </p:cNvPr>
          <p:cNvSpPr>
            <a:spLocks noGrp="1"/>
          </p:cNvSpPr>
          <p:nvPr>
            <p:ph idx="1"/>
          </p:nvPr>
        </p:nvSpPr>
        <p:spPr>
          <a:xfrm>
            <a:off x="767049" y="1012824"/>
            <a:ext cx="10049397" cy="4832352"/>
          </a:xfrm>
        </p:spPr>
        <p:txBody>
          <a:bodyPr/>
          <a:lstStyle/>
          <a:p>
            <a:r>
              <a:rPr lang="de-CH" sz="1800" dirty="0">
                <a:effectLst/>
                <a:latin typeface="Arial" panose="020B0604020202020204" pitchFamily="34" charset="0"/>
                <a:ea typeface="Arial" panose="020B0604020202020204" pitchFamily="34" charset="0"/>
                <a:cs typeface="Times New Roman" panose="02020603050405020304" pitchFamily="18" charset="0"/>
              </a:rPr>
              <a:t>Nach der Festlegung der Funktion der Maschine folgt der wichtigste Schritt bei der Risikobeurteilung der Maschine. </a:t>
            </a:r>
          </a:p>
          <a:p>
            <a:pPr>
              <a:tabLst>
                <a:tab pos="266700" algn="l"/>
              </a:tabLst>
            </a:pPr>
            <a:r>
              <a:rPr lang="de-CH" sz="1800" dirty="0">
                <a:latin typeface="Arial" panose="020B0604020202020204" pitchFamily="34" charset="0"/>
                <a:ea typeface="Arial" panose="020B0604020202020204" pitchFamily="34" charset="0"/>
                <a:cs typeface="Times New Roman" panose="02020603050405020304" pitchFamily="18" charset="0"/>
                <a:sym typeface="Wingdings" panose="05000000000000000000" pitchFamily="2" charset="2"/>
              </a:rPr>
              <a:t> </a:t>
            </a:r>
            <a:r>
              <a:rPr lang="de-CH" sz="1800" dirty="0">
                <a:effectLst/>
                <a:latin typeface="Arial" panose="020B0604020202020204" pitchFamily="34" charset="0"/>
                <a:ea typeface="Arial" panose="020B0604020202020204" pitchFamily="34" charset="0"/>
                <a:cs typeface="Times New Roman" panose="02020603050405020304" pitchFamily="18" charset="0"/>
              </a:rPr>
              <a:t>systematischen Identifizierung vorhersehbarer Gefährdungen, Gefährdungssituationen 	und/oder Gefährdungsereignisse.</a:t>
            </a:r>
          </a:p>
          <a:p>
            <a:endParaRPr lang="de-CH" dirty="0"/>
          </a:p>
        </p:txBody>
      </p:sp>
      <p:sp>
        <p:nvSpPr>
          <p:cNvPr id="3" name="Titel 2">
            <a:extLst>
              <a:ext uri="{FF2B5EF4-FFF2-40B4-BE49-F238E27FC236}">
                <a16:creationId xmlns:a16="http://schemas.microsoft.com/office/drawing/2014/main" id="{6B322F93-CF21-6E2F-4600-A69B4E3442D0}"/>
              </a:ext>
            </a:extLst>
          </p:cNvPr>
          <p:cNvSpPr>
            <a:spLocks noGrp="1"/>
          </p:cNvSpPr>
          <p:nvPr>
            <p:ph type="title"/>
          </p:nvPr>
        </p:nvSpPr>
        <p:spPr/>
        <p:txBody>
          <a:bodyPr>
            <a:normAutofit fontScale="90000"/>
          </a:bodyPr>
          <a:lstStyle/>
          <a:p>
            <a:r>
              <a:rPr lang="de-CH" dirty="0"/>
              <a:t>Identifizieren von Gefährdungen</a:t>
            </a:r>
          </a:p>
        </p:txBody>
      </p:sp>
      <p:sp>
        <p:nvSpPr>
          <p:cNvPr id="4" name="Fußzeilenplatzhalter 3">
            <a:extLst>
              <a:ext uri="{FF2B5EF4-FFF2-40B4-BE49-F238E27FC236}">
                <a16:creationId xmlns:a16="http://schemas.microsoft.com/office/drawing/2014/main" id="{7F7B04E3-4476-4FBC-38BB-13C31CA4311C}"/>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3488058D-5CC1-5B18-9B6B-71CBC621F4DB}"/>
              </a:ext>
            </a:extLst>
          </p:cNvPr>
          <p:cNvSpPr>
            <a:spLocks noGrp="1"/>
          </p:cNvSpPr>
          <p:nvPr>
            <p:ph type="sldNum" sz="quarter" idx="16"/>
          </p:nvPr>
        </p:nvSpPr>
        <p:spPr/>
        <p:txBody>
          <a:bodyPr/>
          <a:lstStyle/>
          <a:p>
            <a:fld id="{61F2C2C2-1EE4-4D60-B09F-2141F977BFAA}" type="slidenum">
              <a:rPr lang="de-DE" altLang="de-DE" smtClean="0"/>
              <a:pPr/>
              <a:t>13</a:t>
            </a:fld>
            <a:endParaRPr lang="de-DE" altLang="de-DE"/>
          </a:p>
        </p:txBody>
      </p:sp>
      <p:pic>
        <p:nvPicPr>
          <p:cNvPr id="6" name="Grafik 5">
            <a:extLst>
              <a:ext uri="{FF2B5EF4-FFF2-40B4-BE49-F238E27FC236}">
                <a16:creationId xmlns:a16="http://schemas.microsoft.com/office/drawing/2014/main" id="{11F590CA-7B54-E317-8B68-E719ADCA3313}"/>
              </a:ext>
            </a:extLst>
          </p:cNvPr>
          <p:cNvPicPr>
            <a:picLocks noChangeAspect="1"/>
          </p:cNvPicPr>
          <p:nvPr/>
        </p:nvPicPr>
        <p:blipFill>
          <a:blip r:embed="rId2"/>
          <a:stretch>
            <a:fillRect/>
          </a:stretch>
        </p:blipFill>
        <p:spPr>
          <a:xfrm>
            <a:off x="2349616" y="2436457"/>
            <a:ext cx="7905554" cy="4237023"/>
          </a:xfrm>
          <a:prstGeom prst="rect">
            <a:avLst/>
          </a:prstGeom>
        </p:spPr>
      </p:pic>
    </p:spTree>
    <p:extLst>
      <p:ext uri="{BB962C8B-B14F-4D97-AF65-F5344CB8AC3E}">
        <p14:creationId xmlns:p14="http://schemas.microsoft.com/office/powerpoint/2010/main" val="1632569237"/>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A3FB637-7C19-A17D-5499-A72FBD315846}"/>
              </a:ext>
            </a:extLst>
          </p:cNvPr>
          <p:cNvSpPr>
            <a:spLocks noGrp="1"/>
          </p:cNvSpPr>
          <p:nvPr>
            <p:ph idx="1"/>
          </p:nvPr>
        </p:nvSpPr>
        <p:spPr>
          <a:xfrm>
            <a:off x="624419" y="1282612"/>
            <a:ext cx="11413253" cy="4832352"/>
          </a:xfrm>
        </p:spPr>
        <p:txBody>
          <a:bodyPr/>
          <a:lstStyle/>
          <a:p>
            <a:pPr algn="just">
              <a:lnSpc>
                <a:spcPct val="107000"/>
              </a:lnSpc>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Nachdem die Gefährdungen identifiziert wurden, ist für jede betrachtete Gefährdungssituation eine Risikoeinschätzung durchzuführen.</a:t>
            </a:r>
          </a:p>
          <a:p>
            <a:pPr algn="just">
              <a:lnSpc>
                <a:spcPct val="107000"/>
              </a:lnSpc>
              <a:spcBef>
                <a:spcPts val="300"/>
              </a:spcBef>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Das mit der betrachteten Gefährdungssituation zusammenhängende Risiko hängt von folgenden Elementen ab:</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m Schadensausmaß, das durch die Gefährdung verursacht werden kann (leichte Verletzung, schwere Verletzung etc.) und</a:t>
            </a:r>
          </a:p>
          <a:p>
            <a:pPr marL="342900" lvl="0" indent="-342900" algn="just">
              <a:lnSpc>
                <a:spcPct val="107000"/>
              </a:lnSpc>
              <a:spcBef>
                <a:spcPts val="300"/>
              </a:spcBef>
              <a:spcAft>
                <a:spcPts val="300"/>
              </a:spcAft>
              <a:buClr>
                <a:srgbClr val="8C195F"/>
              </a:buClr>
              <a:buFont typeface="Symbol" panose="05050102010706020507" pitchFamily="18"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r Eintrittswahrscheinlichkeit dieses Schadens. </a:t>
            </a:r>
          </a:p>
          <a:p>
            <a:pPr lvl="0" algn="just">
              <a:lnSpc>
                <a:spcPct val="107000"/>
              </a:lnSpc>
              <a:spcBef>
                <a:spcPts val="300"/>
              </a:spcBef>
              <a:spcAft>
                <a:spcPts val="300"/>
              </a:spcAft>
              <a:buClr>
                <a:srgbClr val="8C195F"/>
              </a:buClr>
            </a:pPr>
            <a:r>
              <a:rPr lang="de-CH" sz="1800" dirty="0">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	</a:t>
            </a: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iese ergibt sich aus:</a:t>
            </a:r>
          </a:p>
          <a:p>
            <a:pPr marL="846648" lvl="1" indent="-342900" algn="just">
              <a:lnSpc>
                <a:spcPct val="107000"/>
              </a:lnSpc>
              <a:spcBef>
                <a:spcPts val="300"/>
              </a:spcBef>
              <a:spcAft>
                <a:spcPts val="300"/>
              </a:spcAft>
              <a:buClr>
                <a:srgbClr val="8C195F"/>
              </a:buClr>
              <a:buFont typeface="Symbol" panose="05050102010706020507" pitchFamily="18" charset="2"/>
              <a:buChar char="-"/>
            </a:pPr>
            <a:r>
              <a:rPr lang="de-CH" sz="1800" dirty="0">
                <a:solidFill>
                  <a:schemeClr val="tx1"/>
                </a:solidFill>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r Gefährdungsexposition einer Person/von Personen</a:t>
            </a:r>
          </a:p>
          <a:p>
            <a:pPr marL="846648" lvl="1" indent="-342900" algn="just">
              <a:lnSpc>
                <a:spcPct val="107000"/>
              </a:lnSpc>
              <a:spcBef>
                <a:spcPts val="300"/>
              </a:spcBef>
              <a:spcAft>
                <a:spcPts val="300"/>
              </a:spcAft>
              <a:buClr>
                <a:srgbClr val="8C195F"/>
              </a:buClr>
              <a:buFont typeface="Symbol" panose="05050102010706020507" pitchFamily="18" charset="2"/>
              <a:buChar char="-"/>
            </a:pPr>
            <a:r>
              <a:rPr lang="de-CH" sz="1800" dirty="0">
                <a:solidFill>
                  <a:schemeClr val="tx1"/>
                </a:solidFill>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m Eintritt eines Gefährdungsereignisses und</a:t>
            </a:r>
          </a:p>
          <a:p>
            <a:pPr marL="846648" lvl="1" indent="-342900" algn="just">
              <a:lnSpc>
                <a:spcPct val="107000"/>
              </a:lnSpc>
              <a:spcBef>
                <a:spcPts val="300"/>
              </a:spcBef>
              <a:spcAft>
                <a:spcPts val="300"/>
              </a:spcAft>
              <a:buClr>
                <a:srgbClr val="8C195F"/>
              </a:buClr>
              <a:buFont typeface="Symbol" panose="05050102010706020507" pitchFamily="18" charset="2"/>
              <a:buChar char="-"/>
            </a:pPr>
            <a:r>
              <a:rPr lang="de-CH" sz="1800" dirty="0">
                <a:solidFill>
                  <a:schemeClr val="tx1"/>
                </a:solidFill>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n technischen und menschlichen Möglichkeiten zur Vermeidung oder Begrenzung des Schadens</a:t>
            </a:r>
          </a:p>
          <a:p>
            <a:pPr algn="just">
              <a:lnSpc>
                <a:spcPct val="107000"/>
              </a:lnSpc>
              <a:spcBef>
                <a:spcPts val="300"/>
              </a:spcBef>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Für die Einschätzung von Risiken gibt es verschiedene Werkzeuge, z. B. Tabellen, Risikographen, numerische Methoden.</a:t>
            </a:r>
          </a:p>
          <a:p>
            <a:pPr algn="just">
              <a:lnSpc>
                <a:spcPct val="107000"/>
              </a:lnSpc>
              <a:spcBef>
                <a:spcPts val="300"/>
              </a:spcBef>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Bei der Risikobewertung wird anhand der Ergebnisse der Risikoeinschätzung festgelegt, ob die Anwendung von Schutzmaßnahmen erforderlich ist und wann die erforderliche Risikominderung erreicht wurde.</a:t>
            </a:r>
          </a:p>
          <a:p>
            <a:endParaRPr lang="de-CH" dirty="0"/>
          </a:p>
        </p:txBody>
      </p:sp>
      <p:sp>
        <p:nvSpPr>
          <p:cNvPr id="3" name="Titel 2">
            <a:extLst>
              <a:ext uri="{FF2B5EF4-FFF2-40B4-BE49-F238E27FC236}">
                <a16:creationId xmlns:a16="http://schemas.microsoft.com/office/drawing/2014/main" id="{8E995035-27FB-B2F4-5F27-7BB0904BBDFF}"/>
              </a:ext>
            </a:extLst>
          </p:cNvPr>
          <p:cNvSpPr>
            <a:spLocks noGrp="1"/>
          </p:cNvSpPr>
          <p:nvPr>
            <p:ph type="title"/>
          </p:nvPr>
        </p:nvSpPr>
        <p:spPr/>
        <p:txBody>
          <a:bodyPr>
            <a:normAutofit fontScale="90000"/>
          </a:bodyPr>
          <a:lstStyle/>
          <a:p>
            <a:r>
              <a:rPr lang="de-CH" dirty="0"/>
              <a:t>Risikoeinschätzung und Risikobewertung</a:t>
            </a:r>
          </a:p>
        </p:txBody>
      </p:sp>
      <p:sp>
        <p:nvSpPr>
          <p:cNvPr id="4" name="Fußzeilenplatzhalter 3">
            <a:extLst>
              <a:ext uri="{FF2B5EF4-FFF2-40B4-BE49-F238E27FC236}">
                <a16:creationId xmlns:a16="http://schemas.microsoft.com/office/drawing/2014/main" id="{B26D7129-5662-AE58-6164-6EA2B8ECE868}"/>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F93CCE36-A75E-AC88-1DDF-D327E786B336}"/>
              </a:ext>
            </a:extLst>
          </p:cNvPr>
          <p:cNvSpPr>
            <a:spLocks noGrp="1"/>
          </p:cNvSpPr>
          <p:nvPr>
            <p:ph type="sldNum" sz="quarter" idx="16"/>
          </p:nvPr>
        </p:nvSpPr>
        <p:spPr/>
        <p:txBody>
          <a:bodyPr/>
          <a:lstStyle/>
          <a:p>
            <a:fld id="{61F2C2C2-1EE4-4D60-B09F-2141F977BFAA}" type="slidenum">
              <a:rPr lang="de-DE" altLang="de-DE" smtClean="0"/>
              <a:pPr/>
              <a:t>14</a:t>
            </a:fld>
            <a:endParaRPr lang="de-DE" altLang="de-DE"/>
          </a:p>
        </p:txBody>
      </p:sp>
    </p:spTree>
    <p:extLst>
      <p:ext uri="{BB962C8B-B14F-4D97-AF65-F5344CB8AC3E}">
        <p14:creationId xmlns:p14="http://schemas.microsoft.com/office/powerpoint/2010/main" val="771731340"/>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624419" y="452967"/>
            <a:ext cx="11158609" cy="483296"/>
          </a:xfrm>
        </p:spPr>
        <p:txBody>
          <a:bodyPr>
            <a:normAutofit fontScale="90000"/>
          </a:bodyPr>
          <a:lstStyle/>
          <a:p>
            <a:pPr eaLnBrk="1" hangingPunct="1">
              <a:lnSpc>
                <a:spcPct val="100000"/>
              </a:lnSpc>
            </a:pPr>
            <a:r>
              <a:rPr lang="de-DE" altLang="de-DE" dirty="0"/>
              <a:t>Risikograph zur Abschätzung einer Gefährdung nach ISO 13849 und bestimmen des erforderlichen Sicherheitsniveaus</a:t>
            </a:r>
          </a:p>
        </p:txBody>
      </p:sp>
      <p:sp>
        <p:nvSpPr>
          <p:cNvPr id="40964" name="Quelle"/>
          <p:cNvSpPr txBox="1">
            <a:spLocks noChangeArrowheads="1"/>
          </p:cNvSpPr>
          <p:nvPr/>
        </p:nvSpPr>
        <p:spPr bwMode="auto">
          <a:xfrm>
            <a:off x="10064529" y="6485375"/>
            <a:ext cx="9467850"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anchor="b">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eaLnBrk="1" hangingPunct="1">
              <a:spcBef>
                <a:spcPct val="0"/>
              </a:spcBef>
              <a:spcAft>
                <a:spcPct val="0"/>
              </a:spcAft>
              <a:buClrTx/>
              <a:buSzTx/>
              <a:buFontTx/>
              <a:buNone/>
            </a:pPr>
            <a:r>
              <a:rPr lang="de-DE" altLang="de-DE" sz="750" dirty="0">
                <a:latin typeface="+mj-lt"/>
              </a:rPr>
              <a:t>Quelle: ISO 13849, Sick</a:t>
            </a:r>
          </a:p>
        </p:txBody>
      </p:sp>
      <p:sp>
        <p:nvSpPr>
          <p:cNvPr id="7" name="Fußzeilenplatzhalter 6"/>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8" name="Foliennummernplatzhalter 7"/>
          <p:cNvSpPr>
            <a:spLocks noGrp="1"/>
          </p:cNvSpPr>
          <p:nvPr>
            <p:ph type="sldNum" sz="quarter" idx="16"/>
          </p:nvPr>
        </p:nvSpPr>
        <p:spPr/>
        <p:txBody>
          <a:bodyPr/>
          <a:lstStyle/>
          <a:p>
            <a:fld id="{61F2C2C2-1EE4-4D60-B09F-2141F977BFAA}" type="slidenum">
              <a:rPr lang="de-DE" altLang="de-DE" smtClean="0"/>
              <a:pPr/>
              <a:t>15</a:t>
            </a:fld>
            <a:endParaRPr lang="de-DE" altLang="de-DE"/>
          </a:p>
        </p:txBody>
      </p:sp>
      <p:sp>
        <p:nvSpPr>
          <p:cNvPr id="71" name="Textfeld 70"/>
          <p:cNvSpPr txBox="1"/>
          <p:nvPr/>
        </p:nvSpPr>
        <p:spPr>
          <a:xfrm>
            <a:off x="2583792" y="1496788"/>
            <a:ext cx="1175938" cy="679190"/>
          </a:xfrm>
          <a:prstGeom prst="rect">
            <a:avLst/>
          </a:prstGeom>
          <a:solidFill>
            <a:schemeClr val="accent2">
              <a:lumMod val="50000"/>
            </a:schemeClr>
          </a:solidFill>
          <a:ln w="10795">
            <a:noFill/>
            <a:miter lim="800000"/>
            <a:headEnd/>
            <a:tailEnd/>
          </a:ln>
          <a:effectLst/>
        </p:spPr>
        <p:txBody>
          <a:bodyPr wrap="none" anchor="ctr"/>
          <a:lstStyle>
            <a:defPPr>
              <a:defRPr lang="de-DE"/>
            </a:defPPr>
            <a:lvl1pPr eaLnBrk="1" hangingPunct="1">
              <a:buClrTx/>
              <a:buSzTx/>
              <a:buFontTx/>
              <a:buNone/>
              <a:tabLst>
                <a:tab pos="990600" algn="l"/>
              </a:tabLst>
              <a:defRPr b="1">
                <a:solidFill>
                  <a:schemeClr val="bg1"/>
                </a:solidFill>
              </a:defRPr>
            </a:lvl1pPr>
            <a:lvl2pPr marL="742950" indent="-285750" eaLnBrk="0" hangingPunct="0">
              <a:spcAft>
                <a:spcPct val="20000"/>
              </a:spcAft>
              <a:buClr>
                <a:schemeClr val="tx1"/>
              </a:buClr>
              <a:buFont typeface="Arial" charset="0"/>
              <a:buChar char="–"/>
              <a:tabLst>
                <a:tab pos="990600" algn="l"/>
              </a:tabLst>
              <a:defRPr sz="1600"/>
            </a:lvl2pPr>
            <a:lvl3pPr marL="1143000" indent="-228600" eaLnBrk="0" hangingPunct="0">
              <a:spcAft>
                <a:spcPct val="20000"/>
              </a:spcAft>
              <a:buClr>
                <a:schemeClr val="tx1"/>
              </a:buClr>
              <a:buFont typeface="Wingdings" pitchFamily="2" charset="2"/>
              <a:buChar char="§"/>
              <a:tabLst>
                <a:tab pos="990600" algn="l"/>
              </a:tabLst>
              <a:defRPr sz="1600"/>
            </a:lvl3pPr>
            <a:lvl4pPr marL="1600200" indent="-228600" eaLnBrk="0" hangingPunct="0">
              <a:spcAft>
                <a:spcPct val="20000"/>
              </a:spcAft>
              <a:buClr>
                <a:schemeClr val="tx1"/>
              </a:buClr>
              <a:buFont typeface="Wingdings" pitchFamily="2" charset="2"/>
              <a:buChar char="§"/>
              <a:tabLst>
                <a:tab pos="990600" algn="l"/>
              </a:tabLst>
              <a:defRPr sz="1600"/>
            </a:lvl4pPr>
            <a:lvl5pPr marL="2057400" indent="-228600" eaLnBrk="0" hangingPunct="0">
              <a:spcAft>
                <a:spcPct val="20000"/>
              </a:spcAft>
              <a:buClr>
                <a:schemeClr val="tx1"/>
              </a:buClr>
              <a:buFont typeface="Wingdings" pitchFamily="2" charset="2"/>
              <a:buChar char="§"/>
              <a:tabLst>
                <a:tab pos="990600" algn="l"/>
              </a:tabLst>
              <a:defRPr sz="1600"/>
            </a:lvl5pPr>
            <a:lvl6pPr marL="2514600" indent="-228600" eaLnBrk="0" fontAlgn="base" hangingPunct="0">
              <a:spcBef>
                <a:spcPct val="0"/>
              </a:spcBef>
              <a:spcAft>
                <a:spcPct val="20000"/>
              </a:spcAft>
              <a:buClr>
                <a:schemeClr val="tx1"/>
              </a:buClr>
              <a:buFont typeface="Wingdings" pitchFamily="2" charset="2"/>
              <a:buChar char="§"/>
              <a:tabLst>
                <a:tab pos="990600" algn="l"/>
              </a:tabLst>
              <a:defRPr sz="1600"/>
            </a:lvl6pPr>
            <a:lvl7pPr marL="2971800" indent="-228600" eaLnBrk="0" fontAlgn="base" hangingPunct="0">
              <a:spcBef>
                <a:spcPct val="0"/>
              </a:spcBef>
              <a:spcAft>
                <a:spcPct val="20000"/>
              </a:spcAft>
              <a:buClr>
                <a:schemeClr val="tx1"/>
              </a:buClr>
              <a:buFont typeface="Wingdings" pitchFamily="2" charset="2"/>
              <a:buChar char="§"/>
              <a:tabLst>
                <a:tab pos="990600" algn="l"/>
              </a:tabLst>
              <a:defRPr sz="1600"/>
            </a:lvl7pPr>
            <a:lvl8pPr marL="3429000" indent="-228600" eaLnBrk="0" fontAlgn="base" hangingPunct="0">
              <a:spcBef>
                <a:spcPct val="0"/>
              </a:spcBef>
              <a:spcAft>
                <a:spcPct val="20000"/>
              </a:spcAft>
              <a:buClr>
                <a:schemeClr val="tx1"/>
              </a:buClr>
              <a:buFont typeface="Wingdings" pitchFamily="2" charset="2"/>
              <a:buChar char="§"/>
              <a:tabLst>
                <a:tab pos="990600" algn="l"/>
              </a:tabLst>
              <a:defRPr sz="1600"/>
            </a:lvl8pPr>
            <a:lvl9pPr marL="3886200" indent="-228600" eaLnBrk="0" fontAlgn="base" hangingPunct="0">
              <a:spcBef>
                <a:spcPct val="0"/>
              </a:spcBef>
              <a:spcAft>
                <a:spcPct val="20000"/>
              </a:spcAft>
              <a:buClr>
                <a:schemeClr val="tx1"/>
              </a:buClr>
              <a:buFont typeface="Wingdings" pitchFamily="2" charset="2"/>
              <a:buChar char="§"/>
              <a:tabLst>
                <a:tab pos="990600" algn="l"/>
              </a:tabLst>
              <a:defRPr sz="1600"/>
            </a:lvl9pPr>
          </a:lstStyle>
          <a:p>
            <a:pPr marL="0" marR="0" lvl="0" indent="0" algn="ctr" defTabSz="914400" eaLnBrk="1" fontAlgn="auto" latinLnBrk="0" hangingPunct="1">
              <a:lnSpc>
                <a:spcPct val="100000"/>
              </a:lnSpc>
              <a:spcBef>
                <a:spcPts val="0"/>
              </a:spcBef>
              <a:spcAft>
                <a:spcPts val="0"/>
              </a:spcAft>
              <a:buClrTx/>
              <a:buSzTx/>
              <a:buFontTx/>
              <a:buNone/>
              <a:tabLst>
                <a:tab pos="990600" algn="l"/>
              </a:tabLst>
              <a:defRPr/>
            </a:pPr>
            <a:r>
              <a:rPr kumimoji="0" lang="de-DE" sz="1050" b="1" i="0" u="none" strike="noStrike" kern="0" cap="none" spc="0" normalizeH="0" baseline="0" noProof="0" dirty="0">
                <a:ln>
                  <a:noFill/>
                </a:ln>
                <a:solidFill>
                  <a:srgbClr val="FFFFFF"/>
                </a:solidFill>
                <a:effectLst/>
                <a:uLnTx/>
                <a:uFillTx/>
                <a:latin typeface="+mj-lt"/>
              </a:rPr>
              <a:t>Schwere der </a:t>
            </a:r>
          </a:p>
          <a:p>
            <a:pPr marL="0" marR="0" lvl="0" indent="0" algn="ctr" defTabSz="914400" eaLnBrk="1" fontAlgn="auto" latinLnBrk="0" hangingPunct="1">
              <a:lnSpc>
                <a:spcPct val="100000"/>
              </a:lnSpc>
              <a:spcBef>
                <a:spcPts val="0"/>
              </a:spcBef>
              <a:spcAft>
                <a:spcPts val="0"/>
              </a:spcAft>
              <a:buClrTx/>
              <a:buSzTx/>
              <a:buFontTx/>
              <a:buNone/>
              <a:tabLst>
                <a:tab pos="990600" algn="l"/>
              </a:tabLst>
              <a:defRPr/>
            </a:pPr>
            <a:r>
              <a:rPr kumimoji="0" lang="de-DE" sz="1050" b="1" i="0" u="none" strike="noStrike" kern="0" cap="none" spc="0" normalizeH="0" baseline="0" noProof="0" dirty="0">
                <a:ln>
                  <a:noFill/>
                </a:ln>
                <a:solidFill>
                  <a:srgbClr val="FFFFFF"/>
                </a:solidFill>
                <a:effectLst/>
                <a:uLnTx/>
                <a:uFillTx/>
                <a:latin typeface="+mj-lt"/>
              </a:rPr>
              <a:t>Verletzung</a:t>
            </a:r>
          </a:p>
        </p:txBody>
      </p:sp>
      <p:grpSp>
        <p:nvGrpSpPr>
          <p:cNvPr id="73" name="Gruppieren 72"/>
          <p:cNvGrpSpPr/>
          <p:nvPr/>
        </p:nvGrpSpPr>
        <p:grpSpPr>
          <a:xfrm>
            <a:off x="1482511" y="2254616"/>
            <a:ext cx="8407080" cy="2859172"/>
            <a:chOff x="1075582" y="1503807"/>
            <a:chExt cx="8407080" cy="2859172"/>
          </a:xfrm>
        </p:grpSpPr>
        <p:sp>
          <p:nvSpPr>
            <p:cNvPr id="74" name="Line 9"/>
            <p:cNvSpPr>
              <a:spLocks noChangeShapeType="1"/>
            </p:cNvSpPr>
            <p:nvPr/>
          </p:nvSpPr>
          <p:spPr bwMode="auto">
            <a:xfrm>
              <a:off x="2112555" y="2382197"/>
              <a:ext cx="1315520"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75" name="Line 10"/>
            <p:cNvSpPr>
              <a:spLocks noChangeShapeType="1"/>
            </p:cNvSpPr>
            <p:nvPr/>
          </p:nvSpPr>
          <p:spPr bwMode="auto">
            <a:xfrm>
              <a:off x="2112555" y="3397757"/>
              <a:ext cx="1315520"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76" name="Line 11"/>
            <p:cNvSpPr>
              <a:spLocks noChangeShapeType="1"/>
            </p:cNvSpPr>
            <p:nvPr/>
          </p:nvSpPr>
          <p:spPr bwMode="auto">
            <a:xfrm>
              <a:off x="3428074" y="2116667"/>
              <a:ext cx="1283545"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77" name="Line 12"/>
            <p:cNvSpPr>
              <a:spLocks noChangeShapeType="1"/>
            </p:cNvSpPr>
            <p:nvPr/>
          </p:nvSpPr>
          <p:spPr bwMode="auto">
            <a:xfrm>
              <a:off x="3428074" y="2647728"/>
              <a:ext cx="1283545"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78" name="Line 13"/>
            <p:cNvSpPr>
              <a:spLocks noChangeShapeType="1"/>
            </p:cNvSpPr>
            <p:nvPr/>
          </p:nvSpPr>
          <p:spPr bwMode="auto">
            <a:xfrm>
              <a:off x="3428074" y="3119642"/>
              <a:ext cx="1283545"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79" name="Line 14"/>
            <p:cNvSpPr>
              <a:spLocks noChangeShapeType="1"/>
            </p:cNvSpPr>
            <p:nvPr/>
          </p:nvSpPr>
          <p:spPr bwMode="auto">
            <a:xfrm flipV="1">
              <a:off x="3428074" y="3663287"/>
              <a:ext cx="1283545"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0" name="Line 15"/>
            <p:cNvSpPr>
              <a:spLocks noChangeShapeType="1"/>
            </p:cNvSpPr>
            <p:nvPr/>
          </p:nvSpPr>
          <p:spPr bwMode="auto">
            <a:xfrm flipV="1">
              <a:off x="4711619" y="3868413"/>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1" name="Line 16"/>
            <p:cNvSpPr>
              <a:spLocks noChangeShapeType="1"/>
            </p:cNvSpPr>
            <p:nvPr/>
          </p:nvSpPr>
          <p:spPr bwMode="auto">
            <a:xfrm flipV="1">
              <a:off x="4711619" y="3463196"/>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2" name="Line 17"/>
            <p:cNvSpPr>
              <a:spLocks noChangeShapeType="1"/>
            </p:cNvSpPr>
            <p:nvPr/>
          </p:nvSpPr>
          <p:spPr bwMode="auto">
            <a:xfrm flipV="1">
              <a:off x="4711619" y="3289531"/>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3" name="Line 18"/>
            <p:cNvSpPr>
              <a:spLocks noChangeShapeType="1"/>
            </p:cNvSpPr>
            <p:nvPr/>
          </p:nvSpPr>
          <p:spPr bwMode="auto">
            <a:xfrm flipV="1">
              <a:off x="4711619" y="2956045"/>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4" name="Line 19"/>
            <p:cNvSpPr>
              <a:spLocks noChangeShapeType="1"/>
            </p:cNvSpPr>
            <p:nvPr/>
          </p:nvSpPr>
          <p:spPr bwMode="auto">
            <a:xfrm flipV="1">
              <a:off x="4711619" y="2835235"/>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5" name="Line 20"/>
            <p:cNvSpPr>
              <a:spLocks noChangeShapeType="1"/>
            </p:cNvSpPr>
            <p:nvPr/>
          </p:nvSpPr>
          <p:spPr bwMode="auto">
            <a:xfrm flipV="1">
              <a:off x="4711619" y="2490423"/>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6" name="Line 21"/>
            <p:cNvSpPr>
              <a:spLocks noChangeShapeType="1"/>
            </p:cNvSpPr>
            <p:nvPr/>
          </p:nvSpPr>
          <p:spPr bwMode="auto">
            <a:xfrm flipV="1">
              <a:off x="4711619" y="2316758"/>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7" name="Line 22"/>
            <p:cNvSpPr>
              <a:spLocks noChangeShapeType="1"/>
            </p:cNvSpPr>
            <p:nvPr/>
          </p:nvSpPr>
          <p:spPr bwMode="auto">
            <a:xfrm flipV="1">
              <a:off x="4711619" y="1917833"/>
              <a:ext cx="2256482"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8" name="Line 23"/>
            <p:cNvSpPr>
              <a:spLocks noChangeShapeType="1"/>
            </p:cNvSpPr>
            <p:nvPr/>
          </p:nvSpPr>
          <p:spPr bwMode="auto">
            <a:xfrm>
              <a:off x="2112555" y="2382197"/>
              <a:ext cx="0" cy="101556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89" name="Line 24"/>
            <p:cNvSpPr>
              <a:spLocks noChangeShapeType="1"/>
            </p:cNvSpPr>
            <p:nvPr/>
          </p:nvSpPr>
          <p:spPr bwMode="auto">
            <a:xfrm>
              <a:off x="1233258" y="2891865"/>
              <a:ext cx="879297" cy="0"/>
            </a:xfrm>
            <a:prstGeom prst="line">
              <a:avLst/>
            </a:prstGeom>
            <a:noFill/>
            <a:ln w="10795">
              <a:solidFill>
                <a:srgbClr val="000000"/>
              </a:solidFill>
              <a:round/>
              <a:headEnd type="oval" w="lg" len="lg"/>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0" name="Line 25"/>
            <p:cNvSpPr>
              <a:spLocks noChangeShapeType="1"/>
            </p:cNvSpPr>
            <p:nvPr/>
          </p:nvSpPr>
          <p:spPr bwMode="auto">
            <a:xfrm>
              <a:off x="3428074" y="2116667"/>
              <a:ext cx="1283545"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1" name="Line 26"/>
            <p:cNvSpPr>
              <a:spLocks noChangeShapeType="1"/>
            </p:cNvSpPr>
            <p:nvPr/>
          </p:nvSpPr>
          <p:spPr bwMode="auto">
            <a:xfrm>
              <a:off x="4711619" y="1917833"/>
              <a:ext cx="2256482"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2" name="Line 27"/>
            <p:cNvSpPr>
              <a:spLocks noChangeShapeType="1"/>
            </p:cNvSpPr>
            <p:nvPr/>
          </p:nvSpPr>
          <p:spPr bwMode="auto">
            <a:xfrm>
              <a:off x="4711619" y="1917833"/>
              <a:ext cx="0" cy="398925"/>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3" name="Line 28"/>
            <p:cNvSpPr>
              <a:spLocks noChangeShapeType="1"/>
            </p:cNvSpPr>
            <p:nvPr/>
          </p:nvSpPr>
          <p:spPr bwMode="auto">
            <a:xfrm>
              <a:off x="4711619" y="2490423"/>
              <a:ext cx="0" cy="344812"/>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4" name="Line 29"/>
            <p:cNvSpPr>
              <a:spLocks noChangeShapeType="1"/>
            </p:cNvSpPr>
            <p:nvPr/>
          </p:nvSpPr>
          <p:spPr bwMode="auto">
            <a:xfrm>
              <a:off x="4711619" y="2956045"/>
              <a:ext cx="0" cy="333486"/>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5" name="Line 30"/>
            <p:cNvSpPr>
              <a:spLocks noChangeShapeType="1"/>
            </p:cNvSpPr>
            <p:nvPr/>
          </p:nvSpPr>
          <p:spPr bwMode="auto">
            <a:xfrm>
              <a:off x="4711619" y="3463196"/>
              <a:ext cx="0" cy="405217"/>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6" name="Line 31"/>
            <p:cNvSpPr>
              <a:spLocks noChangeShapeType="1"/>
            </p:cNvSpPr>
            <p:nvPr/>
          </p:nvSpPr>
          <p:spPr bwMode="auto">
            <a:xfrm>
              <a:off x="3428074" y="2116667"/>
              <a:ext cx="0" cy="531061"/>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7" name="Line 32"/>
            <p:cNvSpPr>
              <a:spLocks noChangeShapeType="1"/>
            </p:cNvSpPr>
            <p:nvPr/>
          </p:nvSpPr>
          <p:spPr bwMode="auto">
            <a:xfrm>
              <a:off x="3428074" y="3119642"/>
              <a:ext cx="0" cy="543645"/>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98" name="Text Box 34"/>
            <p:cNvSpPr txBox="1">
              <a:spLocks noChangeArrowheads="1"/>
            </p:cNvSpPr>
            <p:nvPr/>
          </p:nvSpPr>
          <p:spPr bwMode="auto">
            <a:xfrm>
              <a:off x="1075582" y="2527046"/>
              <a:ext cx="30168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1</a:t>
              </a:r>
            </a:p>
          </p:txBody>
        </p:sp>
        <p:sp>
          <p:nvSpPr>
            <p:cNvPr id="99" name="Text Box 35"/>
            <p:cNvSpPr txBox="1">
              <a:spLocks noChangeArrowheads="1"/>
            </p:cNvSpPr>
            <p:nvPr/>
          </p:nvSpPr>
          <p:spPr bwMode="auto">
            <a:xfrm>
              <a:off x="2484828" y="2207274"/>
              <a:ext cx="3097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dirty="0">
                  <a:ln>
                    <a:noFill/>
                  </a:ln>
                  <a:solidFill>
                    <a:srgbClr val="000000"/>
                  </a:solidFill>
                  <a:effectLst/>
                  <a:uLnTx/>
                  <a:uFillTx/>
                  <a:latin typeface="+mj-lt"/>
                </a:rPr>
                <a:t>S1</a:t>
              </a:r>
            </a:p>
          </p:txBody>
        </p:sp>
        <p:sp>
          <p:nvSpPr>
            <p:cNvPr id="100" name="Text Box 36"/>
            <p:cNvSpPr txBox="1">
              <a:spLocks noChangeArrowheads="1"/>
            </p:cNvSpPr>
            <p:nvPr/>
          </p:nvSpPr>
          <p:spPr bwMode="auto">
            <a:xfrm>
              <a:off x="2484828" y="3217800"/>
              <a:ext cx="3097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S2</a:t>
              </a:r>
            </a:p>
          </p:txBody>
        </p:sp>
        <p:sp>
          <p:nvSpPr>
            <p:cNvPr id="101" name="Text Box 37"/>
            <p:cNvSpPr txBox="1">
              <a:spLocks noChangeArrowheads="1"/>
            </p:cNvSpPr>
            <p:nvPr/>
          </p:nvSpPr>
          <p:spPr bwMode="auto">
            <a:xfrm>
              <a:off x="3793496" y="1936571"/>
              <a:ext cx="3097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dirty="0">
                  <a:ln>
                    <a:noFill/>
                  </a:ln>
                  <a:solidFill>
                    <a:srgbClr val="000000"/>
                  </a:solidFill>
                  <a:effectLst/>
                  <a:uLnTx/>
                  <a:uFillTx/>
                  <a:latin typeface="+mj-lt"/>
                </a:rPr>
                <a:t>F1</a:t>
              </a:r>
            </a:p>
          </p:txBody>
        </p:sp>
        <p:sp>
          <p:nvSpPr>
            <p:cNvPr id="102" name="Text Box 38"/>
            <p:cNvSpPr txBox="1">
              <a:spLocks noChangeArrowheads="1"/>
            </p:cNvSpPr>
            <p:nvPr/>
          </p:nvSpPr>
          <p:spPr bwMode="auto">
            <a:xfrm>
              <a:off x="3793496" y="2462598"/>
              <a:ext cx="3097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F2</a:t>
              </a:r>
            </a:p>
          </p:txBody>
        </p:sp>
        <p:sp>
          <p:nvSpPr>
            <p:cNvPr id="103" name="Text Box 39"/>
            <p:cNvSpPr txBox="1">
              <a:spLocks noChangeArrowheads="1"/>
            </p:cNvSpPr>
            <p:nvPr/>
          </p:nvSpPr>
          <p:spPr bwMode="auto">
            <a:xfrm>
              <a:off x="3793496" y="2929479"/>
              <a:ext cx="3097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F1</a:t>
              </a:r>
            </a:p>
          </p:txBody>
        </p:sp>
        <p:sp>
          <p:nvSpPr>
            <p:cNvPr id="104" name="Text Box 40"/>
            <p:cNvSpPr txBox="1">
              <a:spLocks noChangeArrowheads="1"/>
            </p:cNvSpPr>
            <p:nvPr/>
          </p:nvSpPr>
          <p:spPr bwMode="auto">
            <a:xfrm>
              <a:off x="3793496" y="3470608"/>
              <a:ext cx="3097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F2</a:t>
              </a:r>
            </a:p>
          </p:txBody>
        </p:sp>
        <p:sp>
          <p:nvSpPr>
            <p:cNvPr id="105" name="Text Box 41"/>
            <p:cNvSpPr txBox="1">
              <a:spLocks noChangeArrowheads="1"/>
            </p:cNvSpPr>
            <p:nvPr/>
          </p:nvSpPr>
          <p:spPr bwMode="auto">
            <a:xfrm>
              <a:off x="5549806" y="1718861"/>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P1</a:t>
              </a:r>
            </a:p>
          </p:txBody>
        </p:sp>
        <p:sp>
          <p:nvSpPr>
            <p:cNvPr id="106" name="Text Box 45"/>
            <p:cNvSpPr txBox="1">
              <a:spLocks noChangeArrowheads="1"/>
            </p:cNvSpPr>
            <p:nvPr/>
          </p:nvSpPr>
          <p:spPr bwMode="auto">
            <a:xfrm>
              <a:off x="5552090" y="2127854"/>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P2</a:t>
              </a:r>
            </a:p>
          </p:txBody>
        </p:sp>
        <p:grpSp>
          <p:nvGrpSpPr>
            <p:cNvPr id="107" name="Group 59"/>
            <p:cNvGrpSpPr>
              <a:grpSpLocks/>
            </p:cNvGrpSpPr>
            <p:nvPr/>
          </p:nvGrpSpPr>
          <p:grpSpPr bwMode="auto">
            <a:xfrm>
              <a:off x="6968101" y="1503807"/>
              <a:ext cx="2514561" cy="2859172"/>
              <a:chOff x="1512" y="364"/>
              <a:chExt cx="1101" cy="2272"/>
            </a:xfrm>
          </p:grpSpPr>
          <p:sp>
            <p:nvSpPr>
              <p:cNvPr id="115" name="Rectangle 49"/>
              <p:cNvSpPr>
                <a:spLocks noChangeArrowheads="1"/>
              </p:cNvSpPr>
              <p:nvPr/>
            </p:nvSpPr>
            <p:spPr bwMode="auto">
              <a:xfrm>
                <a:off x="1512" y="627"/>
                <a:ext cx="294" cy="285"/>
              </a:xfrm>
              <a:prstGeom prst="rect">
                <a:avLst/>
              </a:prstGeom>
              <a:solidFill>
                <a:srgbClr val="33CC33"/>
              </a:solidFill>
              <a:ln w="1079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a</a:t>
                </a:r>
              </a:p>
            </p:txBody>
          </p:sp>
          <p:sp>
            <p:nvSpPr>
              <p:cNvPr id="116" name="Rectangle 50"/>
              <p:cNvSpPr>
                <a:spLocks noChangeArrowheads="1"/>
              </p:cNvSpPr>
              <p:nvPr/>
            </p:nvSpPr>
            <p:spPr bwMode="auto">
              <a:xfrm>
                <a:off x="1512" y="912"/>
                <a:ext cx="294" cy="393"/>
              </a:xfrm>
              <a:prstGeom prst="rect">
                <a:avLst/>
              </a:prstGeom>
              <a:solidFill>
                <a:srgbClr val="FFFF00"/>
              </a:solidFill>
              <a:ln w="1079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b</a:t>
                </a:r>
              </a:p>
            </p:txBody>
          </p:sp>
          <p:sp>
            <p:nvSpPr>
              <p:cNvPr id="117" name="Rectangle 51"/>
              <p:cNvSpPr>
                <a:spLocks noChangeArrowheads="1"/>
              </p:cNvSpPr>
              <p:nvPr/>
            </p:nvSpPr>
            <p:spPr bwMode="auto">
              <a:xfrm>
                <a:off x="1512" y="1297"/>
                <a:ext cx="294" cy="393"/>
              </a:xfrm>
              <a:prstGeom prst="rect">
                <a:avLst/>
              </a:prstGeom>
              <a:solidFill>
                <a:srgbClr val="FFC000"/>
              </a:solidFill>
              <a:ln w="1079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c</a:t>
                </a:r>
              </a:p>
            </p:txBody>
          </p:sp>
          <p:sp>
            <p:nvSpPr>
              <p:cNvPr id="118" name="Rectangle 52"/>
              <p:cNvSpPr>
                <a:spLocks noChangeArrowheads="1"/>
              </p:cNvSpPr>
              <p:nvPr/>
            </p:nvSpPr>
            <p:spPr bwMode="auto">
              <a:xfrm>
                <a:off x="1512" y="1687"/>
                <a:ext cx="294" cy="393"/>
              </a:xfrm>
              <a:prstGeom prst="rect">
                <a:avLst/>
              </a:prstGeom>
              <a:solidFill>
                <a:srgbClr val="FF0000"/>
              </a:solidFill>
              <a:ln w="1079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d</a:t>
                </a:r>
              </a:p>
            </p:txBody>
          </p:sp>
          <p:sp>
            <p:nvSpPr>
              <p:cNvPr id="119" name="Rectangle 53"/>
              <p:cNvSpPr>
                <a:spLocks noChangeArrowheads="1"/>
              </p:cNvSpPr>
              <p:nvPr/>
            </p:nvSpPr>
            <p:spPr bwMode="auto">
              <a:xfrm>
                <a:off x="1512" y="2073"/>
                <a:ext cx="294" cy="298"/>
              </a:xfrm>
              <a:prstGeom prst="rect">
                <a:avLst/>
              </a:prstGeom>
              <a:solidFill>
                <a:srgbClr val="006DB6"/>
              </a:solidFill>
              <a:ln w="1079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e</a:t>
                </a:r>
              </a:p>
            </p:txBody>
          </p:sp>
          <p:sp>
            <p:nvSpPr>
              <p:cNvPr id="120" name="AutoShape 54"/>
              <p:cNvSpPr>
                <a:spLocks noChangeArrowheads="1"/>
              </p:cNvSpPr>
              <p:nvPr/>
            </p:nvSpPr>
            <p:spPr bwMode="auto">
              <a:xfrm>
                <a:off x="1978" y="544"/>
                <a:ext cx="268" cy="1922"/>
              </a:xfrm>
              <a:prstGeom prst="triangle">
                <a:avLst>
                  <a:gd name="adj" fmla="val 50000"/>
                </a:avLst>
              </a:prstGeom>
              <a:gradFill flip="none" rotWithShape="1">
                <a:gsLst>
                  <a:gs pos="0">
                    <a:srgbClr val="FF0000"/>
                  </a:gs>
                  <a:gs pos="100000">
                    <a:srgbClr val="FFFFFF"/>
                  </a:gs>
                  <a:gs pos="100000">
                    <a:srgbClr val="B3D3E9">
                      <a:shade val="100000"/>
                      <a:satMod val="115000"/>
                    </a:srgbClr>
                  </a:gs>
                </a:gsLst>
                <a:lin ang="16200000" scaled="1"/>
                <a:tileRect/>
              </a:gradFill>
              <a:ln w="1079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pitchFamily="34" charset="0"/>
                  </a:defRPr>
                </a:lvl1pPr>
                <a:lvl2pPr marL="742950" indent="-285750" eaLnBrk="0" hangingPunct="0">
                  <a:spcAft>
                    <a:spcPct val="20000"/>
                  </a:spcAft>
                  <a:buClr>
                    <a:schemeClr val="tx1"/>
                  </a:buClr>
                  <a:buFont typeface="Arial" pitchFamily="34" charset="0"/>
                  <a:buChar char="–"/>
                  <a:defRPr sz="1600">
                    <a:solidFill>
                      <a:schemeClr val="tx1"/>
                    </a:solidFill>
                    <a:latin typeface="Arial" pitchFamily="34"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pitchFamily="34"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pitchFamily="34"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pitchFamily="34"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pitchFamily="34"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pitchFamily="34"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mj-lt"/>
                </a:endParaRPr>
              </a:p>
            </p:txBody>
          </p:sp>
          <p:sp>
            <p:nvSpPr>
              <p:cNvPr id="121" name="Text Box 55"/>
              <p:cNvSpPr txBox="1">
                <a:spLocks noChangeArrowheads="1"/>
              </p:cNvSpPr>
              <p:nvPr/>
            </p:nvSpPr>
            <p:spPr bwMode="auto">
              <a:xfrm>
                <a:off x="1583" y="364"/>
                <a:ext cx="176" cy="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PL</a:t>
                </a:r>
                <a:endParaRPr kumimoji="0" lang="de-DE" altLang="de-DE" sz="1800" b="0" i="0" u="none" strike="noStrike" kern="0" cap="none" spc="0" normalizeH="0" baseline="-25000" noProof="0" dirty="0">
                  <a:ln>
                    <a:noFill/>
                  </a:ln>
                  <a:solidFill>
                    <a:srgbClr val="000000"/>
                  </a:solidFill>
                  <a:effectLst/>
                  <a:uLnTx/>
                  <a:uFillTx/>
                  <a:latin typeface="+mj-lt"/>
                </a:endParaRPr>
              </a:p>
            </p:txBody>
          </p:sp>
          <p:sp>
            <p:nvSpPr>
              <p:cNvPr id="122" name="Text Box 56"/>
              <p:cNvSpPr txBox="1">
                <a:spLocks noChangeArrowheads="1"/>
              </p:cNvSpPr>
              <p:nvPr/>
            </p:nvSpPr>
            <p:spPr bwMode="auto">
              <a:xfrm>
                <a:off x="2256" y="2343"/>
                <a:ext cx="284" cy="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hoch</a:t>
                </a:r>
              </a:p>
            </p:txBody>
          </p:sp>
          <p:sp>
            <p:nvSpPr>
              <p:cNvPr id="123" name="Text Box 58"/>
              <p:cNvSpPr txBox="1">
                <a:spLocks noChangeArrowheads="1"/>
              </p:cNvSpPr>
              <p:nvPr/>
            </p:nvSpPr>
            <p:spPr bwMode="auto">
              <a:xfrm>
                <a:off x="2246" y="483"/>
                <a:ext cx="367" cy="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niedrig</a:t>
                </a:r>
              </a:p>
            </p:txBody>
          </p:sp>
        </p:grpSp>
        <p:sp>
          <p:nvSpPr>
            <p:cNvPr id="108" name="Textfeld 1"/>
            <p:cNvSpPr txBox="1">
              <a:spLocks noChangeArrowheads="1"/>
            </p:cNvSpPr>
            <p:nvPr/>
          </p:nvSpPr>
          <p:spPr bwMode="auto">
            <a:xfrm rot="16200000">
              <a:off x="8601110" y="2575479"/>
              <a:ext cx="6719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Risiko</a:t>
              </a:r>
              <a:endParaRPr kumimoji="0" lang="de-DE" altLang="de-DE" sz="1800" b="0" i="0" u="none" strike="noStrike" kern="0" cap="none" spc="0" normalizeH="0" baseline="0" noProof="0" dirty="0">
                <a:ln>
                  <a:noFill/>
                </a:ln>
                <a:solidFill>
                  <a:srgbClr val="000000"/>
                </a:solidFill>
                <a:effectLst/>
                <a:uLnTx/>
                <a:uFillTx/>
                <a:latin typeface="+mj-lt"/>
              </a:endParaRPr>
            </a:p>
          </p:txBody>
        </p:sp>
        <p:sp>
          <p:nvSpPr>
            <p:cNvPr id="109" name="Text Box 41"/>
            <p:cNvSpPr txBox="1">
              <a:spLocks noChangeArrowheads="1"/>
            </p:cNvSpPr>
            <p:nvPr/>
          </p:nvSpPr>
          <p:spPr bwMode="auto">
            <a:xfrm>
              <a:off x="5555604" y="2300577"/>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dirty="0">
                  <a:ln>
                    <a:noFill/>
                  </a:ln>
                  <a:solidFill>
                    <a:srgbClr val="000000"/>
                  </a:solidFill>
                  <a:effectLst/>
                  <a:uLnTx/>
                  <a:uFillTx/>
                  <a:latin typeface="+mj-lt"/>
                </a:rPr>
                <a:t>P1</a:t>
              </a:r>
            </a:p>
          </p:txBody>
        </p:sp>
        <p:sp>
          <p:nvSpPr>
            <p:cNvPr id="110" name="Text Box 45"/>
            <p:cNvSpPr txBox="1">
              <a:spLocks noChangeArrowheads="1"/>
            </p:cNvSpPr>
            <p:nvPr/>
          </p:nvSpPr>
          <p:spPr bwMode="auto">
            <a:xfrm>
              <a:off x="5549806" y="2642944"/>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dirty="0">
                  <a:ln>
                    <a:noFill/>
                  </a:ln>
                  <a:solidFill>
                    <a:srgbClr val="000000"/>
                  </a:solidFill>
                  <a:effectLst/>
                  <a:uLnTx/>
                  <a:uFillTx/>
                  <a:latin typeface="+mj-lt"/>
                </a:rPr>
                <a:t>P2</a:t>
              </a:r>
            </a:p>
          </p:txBody>
        </p:sp>
        <p:sp>
          <p:nvSpPr>
            <p:cNvPr id="111" name="Text Box 41"/>
            <p:cNvSpPr txBox="1">
              <a:spLocks noChangeArrowheads="1"/>
            </p:cNvSpPr>
            <p:nvPr/>
          </p:nvSpPr>
          <p:spPr bwMode="auto">
            <a:xfrm>
              <a:off x="5552090" y="3265418"/>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P1</a:t>
              </a:r>
            </a:p>
          </p:txBody>
        </p:sp>
        <p:sp>
          <p:nvSpPr>
            <p:cNvPr id="112" name="Text Box 45"/>
            <p:cNvSpPr txBox="1">
              <a:spLocks noChangeArrowheads="1"/>
            </p:cNvSpPr>
            <p:nvPr/>
          </p:nvSpPr>
          <p:spPr bwMode="auto">
            <a:xfrm>
              <a:off x="5554374" y="3674411"/>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P2</a:t>
              </a:r>
            </a:p>
          </p:txBody>
        </p:sp>
        <p:sp>
          <p:nvSpPr>
            <p:cNvPr id="113" name="Text Box 41"/>
            <p:cNvSpPr txBox="1">
              <a:spLocks noChangeArrowheads="1"/>
            </p:cNvSpPr>
            <p:nvPr/>
          </p:nvSpPr>
          <p:spPr bwMode="auto">
            <a:xfrm>
              <a:off x="5547522" y="2777820"/>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dirty="0">
                  <a:ln>
                    <a:noFill/>
                  </a:ln>
                  <a:solidFill>
                    <a:srgbClr val="000000"/>
                  </a:solidFill>
                  <a:effectLst/>
                  <a:uLnTx/>
                  <a:uFillTx/>
                  <a:latin typeface="+mj-lt"/>
                </a:rPr>
                <a:t>P1</a:t>
              </a:r>
            </a:p>
          </p:txBody>
        </p:sp>
        <p:sp>
          <p:nvSpPr>
            <p:cNvPr id="114" name="Text Box 45"/>
            <p:cNvSpPr txBox="1">
              <a:spLocks noChangeArrowheads="1"/>
            </p:cNvSpPr>
            <p:nvPr/>
          </p:nvSpPr>
          <p:spPr bwMode="auto">
            <a:xfrm>
              <a:off x="5549806" y="3101088"/>
              <a:ext cx="3161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a:ln>
                    <a:noFill/>
                  </a:ln>
                  <a:solidFill>
                    <a:srgbClr val="000000"/>
                  </a:solidFill>
                  <a:effectLst/>
                  <a:uLnTx/>
                  <a:uFillTx/>
                  <a:latin typeface="+mj-lt"/>
                </a:rPr>
                <a:t>P2</a:t>
              </a:r>
            </a:p>
          </p:txBody>
        </p:sp>
      </p:grpSp>
      <p:sp>
        <p:nvSpPr>
          <p:cNvPr id="124" name="Textfeld 123"/>
          <p:cNvSpPr txBox="1"/>
          <p:nvPr/>
        </p:nvSpPr>
        <p:spPr>
          <a:xfrm>
            <a:off x="3835003" y="1496788"/>
            <a:ext cx="1197266" cy="679190"/>
          </a:xfrm>
          <a:prstGeom prst="rect">
            <a:avLst/>
          </a:prstGeom>
          <a:solidFill>
            <a:schemeClr val="accent2">
              <a:lumMod val="50000"/>
            </a:schemeClr>
          </a:solidFill>
          <a:ln w="10795">
            <a:noFill/>
            <a:miter lim="800000"/>
            <a:headEnd/>
            <a:tailEnd/>
          </a:ln>
          <a:effectLst/>
        </p:spPr>
        <p:txBody>
          <a:bodyPr wrap="square" anchor="ctr"/>
          <a:lstStyle>
            <a:defPPr>
              <a:defRPr lang="de-DE"/>
            </a:defPPr>
            <a:lvl1pPr eaLnBrk="1" hangingPunct="1">
              <a:buClrTx/>
              <a:buSzTx/>
              <a:buFontTx/>
              <a:buNone/>
              <a:tabLst>
                <a:tab pos="990600" algn="l"/>
              </a:tabLst>
              <a:defRPr b="1">
                <a:solidFill>
                  <a:schemeClr val="bg1"/>
                </a:solidFill>
              </a:defRPr>
            </a:lvl1pPr>
            <a:lvl2pPr marL="742950" indent="-285750" eaLnBrk="0" hangingPunct="0">
              <a:spcAft>
                <a:spcPct val="20000"/>
              </a:spcAft>
              <a:buClr>
                <a:schemeClr val="tx1"/>
              </a:buClr>
              <a:buFont typeface="Arial" charset="0"/>
              <a:buChar char="–"/>
              <a:tabLst>
                <a:tab pos="990600" algn="l"/>
              </a:tabLst>
              <a:defRPr sz="1600"/>
            </a:lvl2pPr>
            <a:lvl3pPr marL="1143000" indent="-228600" eaLnBrk="0" hangingPunct="0">
              <a:spcAft>
                <a:spcPct val="20000"/>
              </a:spcAft>
              <a:buClr>
                <a:schemeClr val="tx1"/>
              </a:buClr>
              <a:buFont typeface="Wingdings" pitchFamily="2" charset="2"/>
              <a:buChar char="§"/>
              <a:tabLst>
                <a:tab pos="990600" algn="l"/>
              </a:tabLst>
              <a:defRPr sz="1600"/>
            </a:lvl3pPr>
            <a:lvl4pPr marL="1600200" indent="-228600" eaLnBrk="0" hangingPunct="0">
              <a:spcAft>
                <a:spcPct val="20000"/>
              </a:spcAft>
              <a:buClr>
                <a:schemeClr val="tx1"/>
              </a:buClr>
              <a:buFont typeface="Wingdings" pitchFamily="2" charset="2"/>
              <a:buChar char="§"/>
              <a:tabLst>
                <a:tab pos="990600" algn="l"/>
              </a:tabLst>
              <a:defRPr sz="1600"/>
            </a:lvl4pPr>
            <a:lvl5pPr marL="2057400" indent="-228600" eaLnBrk="0" hangingPunct="0">
              <a:spcAft>
                <a:spcPct val="20000"/>
              </a:spcAft>
              <a:buClr>
                <a:schemeClr val="tx1"/>
              </a:buClr>
              <a:buFont typeface="Wingdings" pitchFamily="2" charset="2"/>
              <a:buChar char="§"/>
              <a:tabLst>
                <a:tab pos="990600" algn="l"/>
              </a:tabLst>
              <a:defRPr sz="1600"/>
            </a:lvl5pPr>
            <a:lvl6pPr marL="2514600" indent="-228600" eaLnBrk="0" fontAlgn="base" hangingPunct="0">
              <a:spcBef>
                <a:spcPct val="0"/>
              </a:spcBef>
              <a:spcAft>
                <a:spcPct val="20000"/>
              </a:spcAft>
              <a:buClr>
                <a:schemeClr val="tx1"/>
              </a:buClr>
              <a:buFont typeface="Wingdings" pitchFamily="2" charset="2"/>
              <a:buChar char="§"/>
              <a:tabLst>
                <a:tab pos="990600" algn="l"/>
              </a:tabLst>
              <a:defRPr sz="1600"/>
            </a:lvl6pPr>
            <a:lvl7pPr marL="2971800" indent="-228600" eaLnBrk="0" fontAlgn="base" hangingPunct="0">
              <a:spcBef>
                <a:spcPct val="0"/>
              </a:spcBef>
              <a:spcAft>
                <a:spcPct val="20000"/>
              </a:spcAft>
              <a:buClr>
                <a:schemeClr val="tx1"/>
              </a:buClr>
              <a:buFont typeface="Wingdings" pitchFamily="2" charset="2"/>
              <a:buChar char="§"/>
              <a:tabLst>
                <a:tab pos="990600" algn="l"/>
              </a:tabLst>
              <a:defRPr sz="1600"/>
            </a:lvl7pPr>
            <a:lvl8pPr marL="3429000" indent="-228600" eaLnBrk="0" fontAlgn="base" hangingPunct="0">
              <a:spcBef>
                <a:spcPct val="0"/>
              </a:spcBef>
              <a:spcAft>
                <a:spcPct val="20000"/>
              </a:spcAft>
              <a:buClr>
                <a:schemeClr val="tx1"/>
              </a:buClr>
              <a:buFont typeface="Wingdings" pitchFamily="2" charset="2"/>
              <a:buChar char="§"/>
              <a:tabLst>
                <a:tab pos="990600" algn="l"/>
              </a:tabLst>
              <a:defRPr sz="1600"/>
            </a:lvl8pPr>
            <a:lvl9pPr marL="3886200" indent="-228600" eaLnBrk="0" fontAlgn="base" hangingPunct="0">
              <a:spcBef>
                <a:spcPct val="0"/>
              </a:spcBef>
              <a:spcAft>
                <a:spcPct val="20000"/>
              </a:spcAft>
              <a:buClr>
                <a:schemeClr val="tx1"/>
              </a:buClr>
              <a:buFont typeface="Wingdings" pitchFamily="2" charset="2"/>
              <a:buChar char="§"/>
              <a:tabLst>
                <a:tab pos="990600" algn="l"/>
              </a:tabLst>
              <a:defRPr sz="1600"/>
            </a:lvl9pPr>
          </a:lstStyle>
          <a:p>
            <a:pPr marL="0" marR="0" lvl="0" indent="0" algn="ctr" defTabSz="914400" eaLnBrk="1" fontAlgn="auto" latinLnBrk="0" hangingPunct="1">
              <a:lnSpc>
                <a:spcPct val="100000"/>
              </a:lnSpc>
              <a:spcBef>
                <a:spcPts val="0"/>
              </a:spcBef>
              <a:spcAft>
                <a:spcPts val="0"/>
              </a:spcAft>
              <a:buClrTx/>
              <a:buSzTx/>
              <a:buFontTx/>
              <a:buNone/>
              <a:tabLst>
                <a:tab pos="990600" algn="l"/>
              </a:tabLst>
              <a:defRPr/>
            </a:pPr>
            <a:r>
              <a:rPr kumimoji="0" lang="de-DE" sz="1050" b="1" i="0" u="none" strike="noStrike" kern="0" cap="none" spc="0" normalizeH="0" baseline="0" noProof="0" dirty="0">
                <a:ln>
                  <a:noFill/>
                </a:ln>
                <a:solidFill>
                  <a:srgbClr val="FFFFFF"/>
                </a:solidFill>
                <a:effectLst/>
                <a:uLnTx/>
                <a:uFillTx/>
                <a:latin typeface="+mj-lt"/>
              </a:rPr>
              <a:t>Häufigkeit und/oder Dauer der Gefährdung</a:t>
            </a:r>
          </a:p>
        </p:txBody>
      </p:sp>
      <p:sp>
        <p:nvSpPr>
          <p:cNvPr id="125" name="Textfeld 124"/>
          <p:cNvSpPr txBox="1"/>
          <p:nvPr/>
        </p:nvSpPr>
        <p:spPr>
          <a:xfrm>
            <a:off x="5118547" y="1496788"/>
            <a:ext cx="2217502" cy="679190"/>
          </a:xfrm>
          <a:prstGeom prst="rect">
            <a:avLst/>
          </a:prstGeom>
          <a:solidFill>
            <a:schemeClr val="accent2">
              <a:lumMod val="50000"/>
            </a:schemeClr>
          </a:solidFill>
          <a:ln w="10795">
            <a:noFill/>
            <a:miter lim="800000"/>
            <a:headEnd/>
            <a:tailEnd/>
          </a:ln>
          <a:effectLst/>
        </p:spPr>
        <p:txBody>
          <a:bodyPr wrap="square" anchor="ctr"/>
          <a:lstStyle>
            <a:defPPr>
              <a:defRPr lang="de-DE"/>
            </a:defPPr>
            <a:lvl1pPr eaLnBrk="1" hangingPunct="1">
              <a:buClrTx/>
              <a:buSzTx/>
              <a:buFontTx/>
              <a:buNone/>
              <a:tabLst>
                <a:tab pos="990600" algn="l"/>
              </a:tabLst>
              <a:defRPr b="1">
                <a:solidFill>
                  <a:schemeClr val="bg1"/>
                </a:solidFill>
              </a:defRPr>
            </a:lvl1pPr>
            <a:lvl2pPr marL="742950" indent="-285750" eaLnBrk="0" hangingPunct="0">
              <a:spcAft>
                <a:spcPct val="20000"/>
              </a:spcAft>
              <a:buClr>
                <a:schemeClr val="tx1"/>
              </a:buClr>
              <a:buFont typeface="Arial" charset="0"/>
              <a:buChar char="–"/>
              <a:tabLst>
                <a:tab pos="990600" algn="l"/>
              </a:tabLst>
              <a:defRPr sz="1600"/>
            </a:lvl2pPr>
            <a:lvl3pPr marL="1143000" indent="-228600" eaLnBrk="0" hangingPunct="0">
              <a:spcAft>
                <a:spcPct val="20000"/>
              </a:spcAft>
              <a:buClr>
                <a:schemeClr val="tx1"/>
              </a:buClr>
              <a:buFont typeface="Wingdings" pitchFamily="2" charset="2"/>
              <a:buChar char="§"/>
              <a:tabLst>
                <a:tab pos="990600" algn="l"/>
              </a:tabLst>
              <a:defRPr sz="1600"/>
            </a:lvl3pPr>
            <a:lvl4pPr marL="1600200" indent="-228600" eaLnBrk="0" hangingPunct="0">
              <a:spcAft>
                <a:spcPct val="20000"/>
              </a:spcAft>
              <a:buClr>
                <a:schemeClr val="tx1"/>
              </a:buClr>
              <a:buFont typeface="Wingdings" pitchFamily="2" charset="2"/>
              <a:buChar char="§"/>
              <a:tabLst>
                <a:tab pos="990600" algn="l"/>
              </a:tabLst>
              <a:defRPr sz="1600"/>
            </a:lvl4pPr>
            <a:lvl5pPr marL="2057400" indent="-228600" eaLnBrk="0" hangingPunct="0">
              <a:spcAft>
                <a:spcPct val="20000"/>
              </a:spcAft>
              <a:buClr>
                <a:schemeClr val="tx1"/>
              </a:buClr>
              <a:buFont typeface="Wingdings" pitchFamily="2" charset="2"/>
              <a:buChar char="§"/>
              <a:tabLst>
                <a:tab pos="990600" algn="l"/>
              </a:tabLst>
              <a:defRPr sz="1600"/>
            </a:lvl5pPr>
            <a:lvl6pPr marL="2514600" indent="-228600" eaLnBrk="0" fontAlgn="base" hangingPunct="0">
              <a:spcBef>
                <a:spcPct val="0"/>
              </a:spcBef>
              <a:spcAft>
                <a:spcPct val="20000"/>
              </a:spcAft>
              <a:buClr>
                <a:schemeClr val="tx1"/>
              </a:buClr>
              <a:buFont typeface="Wingdings" pitchFamily="2" charset="2"/>
              <a:buChar char="§"/>
              <a:tabLst>
                <a:tab pos="990600" algn="l"/>
              </a:tabLst>
              <a:defRPr sz="1600"/>
            </a:lvl6pPr>
            <a:lvl7pPr marL="2971800" indent="-228600" eaLnBrk="0" fontAlgn="base" hangingPunct="0">
              <a:spcBef>
                <a:spcPct val="0"/>
              </a:spcBef>
              <a:spcAft>
                <a:spcPct val="20000"/>
              </a:spcAft>
              <a:buClr>
                <a:schemeClr val="tx1"/>
              </a:buClr>
              <a:buFont typeface="Wingdings" pitchFamily="2" charset="2"/>
              <a:buChar char="§"/>
              <a:tabLst>
                <a:tab pos="990600" algn="l"/>
              </a:tabLst>
              <a:defRPr sz="1600"/>
            </a:lvl7pPr>
            <a:lvl8pPr marL="3429000" indent="-228600" eaLnBrk="0" fontAlgn="base" hangingPunct="0">
              <a:spcBef>
                <a:spcPct val="0"/>
              </a:spcBef>
              <a:spcAft>
                <a:spcPct val="20000"/>
              </a:spcAft>
              <a:buClr>
                <a:schemeClr val="tx1"/>
              </a:buClr>
              <a:buFont typeface="Wingdings" pitchFamily="2" charset="2"/>
              <a:buChar char="§"/>
              <a:tabLst>
                <a:tab pos="990600" algn="l"/>
              </a:tabLst>
              <a:defRPr sz="1600"/>
            </a:lvl8pPr>
            <a:lvl9pPr marL="3886200" indent="-228600" eaLnBrk="0" fontAlgn="base" hangingPunct="0">
              <a:spcBef>
                <a:spcPct val="0"/>
              </a:spcBef>
              <a:spcAft>
                <a:spcPct val="20000"/>
              </a:spcAft>
              <a:buClr>
                <a:schemeClr val="tx1"/>
              </a:buClr>
              <a:buFont typeface="Wingdings" pitchFamily="2" charset="2"/>
              <a:buChar char="§"/>
              <a:tabLst>
                <a:tab pos="990600" algn="l"/>
              </a:tabLst>
              <a:defRPr sz="1600"/>
            </a:lvl9pPr>
          </a:lstStyle>
          <a:p>
            <a:pPr marL="0" marR="0" lvl="0" indent="0" algn="ctr" defTabSz="914400" eaLnBrk="1" fontAlgn="auto" latinLnBrk="0" hangingPunct="1">
              <a:lnSpc>
                <a:spcPct val="100000"/>
              </a:lnSpc>
              <a:spcBef>
                <a:spcPts val="0"/>
              </a:spcBef>
              <a:spcAft>
                <a:spcPts val="0"/>
              </a:spcAft>
              <a:buClrTx/>
              <a:buSzTx/>
              <a:buFontTx/>
              <a:buNone/>
              <a:tabLst>
                <a:tab pos="990600" algn="l"/>
              </a:tabLst>
              <a:defRPr/>
            </a:pPr>
            <a:r>
              <a:rPr kumimoji="0" lang="de-DE" sz="1050" b="1" i="0" u="none" strike="noStrike" kern="0" cap="none" spc="0" normalizeH="0" baseline="0" noProof="0" dirty="0">
                <a:ln>
                  <a:noFill/>
                </a:ln>
                <a:solidFill>
                  <a:srgbClr val="FFFFFF"/>
                </a:solidFill>
                <a:effectLst/>
                <a:uLnTx/>
                <a:uFillTx/>
                <a:latin typeface="+mj-lt"/>
              </a:rPr>
              <a:t>Möglichkeit zur Vermeidung der Gefährdung oder zur Begrenzung des Schadens</a:t>
            </a:r>
          </a:p>
        </p:txBody>
      </p:sp>
      <p:sp>
        <p:nvSpPr>
          <p:cNvPr id="126" name="Textfeld 125"/>
          <p:cNvSpPr txBox="1"/>
          <p:nvPr/>
        </p:nvSpPr>
        <p:spPr>
          <a:xfrm>
            <a:off x="7417650" y="1496788"/>
            <a:ext cx="628843" cy="679190"/>
          </a:xfrm>
          <a:prstGeom prst="rect">
            <a:avLst/>
          </a:prstGeom>
          <a:solidFill>
            <a:schemeClr val="accent2">
              <a:lumMod val="50000"/>
            </a:schemeClr>
          </a:solidFill>
          <a:ln w="10795">
            <a:noFill/>
            <a:miter lim="800000"/>
            <a:headEnd/>
            <a:tailEnd/>
          </a:ln>
          <a:effectLst/>
        </p:spPr>
        <p:txBody>
          <a:bodyPr wrap="square" anchor="ctr"/>
          <a:lstStyle>
            <a:defPPr>
              <a:defRPr lang="de-DE"/>
            </a:defPPr>
            <a:lvl1pPr eaLnBrk="1" hangingPunct="1">
              <a:buClrTx/>
              <a:buSzTx/>
              <a:buFontTx/>
              <a:buNone/>
              <a:tabLst>
                <a:tab pos="990600" algn="l"/>
              </a:tabLst>
              <a:defRPr b="1">
                <a:solidFill>
                  <a:schemeClr val="bg1"/>
                </a:solidFill>
              </a:defRPr>
            </a:lvl1pPr>
            <a:lvl2pPr marL="742950" indent="-285750" eaLnBrk="0" hangingPunct="0">
              <a:spcAft>
                <a:spcPct val="20000"/>
              </a:spcAft>
              <a:buClr>
                <a:schemeClr val="tx1"/>
              </a:buClr>
              <a:buFont typeface="Arial" charset="0"/>
              <a:buChar char="–"/>
              <a:tabLst>
                <a:tab pos="990600" algn="l"/>
              </a:tabLst>
              <a:defRPr sz="1600"/>
            </a:lvl2pPr>
            <a:lvl3pPr marL="1143000" indent="-228600" eaLnBrk="0" hangingPunct="0">
              <a:spcAft>
                <a:spcPct val="20000"/>
              </a:spcAft>
              <a:buClr>
                <a:schemeClr val="tx1"/>
              </a:buClr>
              <a:buFont typeface="Wingdings" pitchFamily="2" charset="2"/>
              <a:buChar char="§"/>
              <a:tabLst>
                <a:tab pos="990600" algn="l"/>
              </a:tabLst>
              <a:defRPr sz="1600"/>
            </a:lvl3pPr>
            <a:lvl4pPr marL="1600200" indent="-228600" eaLnBrk="0" hangingPunct="0">
              <a:spcAft>
                <a:spcPct val="20000"/>
              </a:spcAft>
              <a:buClr>
                <a:schemeClr val="tx1"/>
              </a:buClr>
              <a:buFont typeface="Wingdings" pitchFamily="2" charset="2"/>
              <a:buChar char="§"/>
              <a:tabLst>
                <a:tab pos="990600" algn="l"/>
              </a:tabLst>
              <a:defRPr sz="1600"/>
            </a:lvl4pPr>
            <a:lvl5pPr marL="2057400" indent="-228600" eaLnBrk="0" hangingPunct="0">
              <a:spcAft>
                <a:spcPct val="20000"/>
              </a:spcAft>
              <a:buClr>
                <a:schemeClr val="tx1"/>
              </a:buClr>
              <a:buFont typeface="Wingdings" pitchFamily="2" charset="2"/>
              <a:buChar char="§"/>
              <a:tabLst>
                <a:tab pos="990600" algn="l"/>
              </a:tabLst>
              <a:defRPr sz="1600"/>
            </a:lvl5pPr>
            <a:lvl6pPr marL="2514600" indent="-228600" eaLnBrk="0" fontAlgn="base" hangingPunct="0">
              <a:spcBef>
                <a:spcPct val="0"/>
              </a:spcBef>
              <a:spcAft>
                <a:spcPct val="20000"/>
              </a:spcAft>
              <a:buClr>
                <a:schemeClr val="tx1"/>
              </a:buClr>
              <a:buFont typeface="Wingdings" pitchFamily="2" charset="2"/>
              <a:buChar char="§"/>
              <a:tabLst>
                <a:tab pos="990600" algn="l"/>
              </a:tabLst>
              <a:defRPr sz="1600"/>
            </a:lvl6pPr>
            <a:lvl7pPr marL="2971800" indent="-228600" eaLnBrk="0" fontAlgn="base" hangingPunct="0">
              <a:spcBef>
                <a:spcPct val="0"/>
              </a:spcBef>
              <a:spcAft>
                <a:spcPct val="20000"/>
              </a:spcAft>
              <a:buClr>
                <a:schemeClr val="tx1"/>
              </a:buClr>
              <a:buFont typeface="Wingdings" pitchFamily="2" charset="2"/>
              <a:buChar char="§"/>
              <a:tabLst>
                <a:tab pos="990600" algn="l"/>
              </a:tabLst>
              <a:defRPr sz="1600"/>
            </a:lvl7pPr>
            <a:lvl8pPr marL="3429000" indent="-228600" eaLnBrk="0" fontAlgn="base" hangingPunct="0">
              <a:spcBef>
                <a:spcPct val="0"/>
              </a:spcBef>
              <a:spcAft>
                <a:spcPct val="20000"/>
              </a:spcAft>
              <a:buClr>
                <a:schemeClr val="tx1"/>
              </a:buClr>
              <a:buFont typeface="Wingdings" pitchFamily="2" charset="2"/>
              <a:buChar char="§"/>
              <a:tabLst>
                <a:tab pos="990600" algn="l"/>
              </a:tabLst>
              <a:defRPr sz="1600"/>
            </a:lvl8pPr>
            <a:lvl9pPr marL="3886200" indent="-228600" eaLnBrk="0" fontAlgn="base" hangingPunct="0">
              <a:spcBef>
                <a:spcPct val="0"/>
              </a:spcBef>
              <a:spcAft>
                <a:spcPct val="20000"/>
              </a:spcAft>
              <a:buClr>
                <a:schemeClr val="tx1"/>
              </a:buClr>
              <a:buFont typeface="Wingdings" pitchFamily="2" charset="2"/>
              <a:buChar char="§"/>
              <a:tabLst>
                <a:tab pos="990600" algn="l"/>
              </a:tabLst>
              <a:defRPr sz="1600"/>
            </a:lvl9pPr>
          </a:lstStyle>
          <a:p>
            <a:pPr marL="0" marR="0" lvl="0" indent="0" algn="ctr" defTabSz="914400" eaLnBrk="1" fontAlgn="auto" latinLnBrk="0" hangingPunct="1">
              <a:lnSpc>
                <a:spcPct val="100000"/>
              </a:lnSpc>
              <a:spcBef>
                <a:spcPts val="0"/>
              </a:spcBef>
              <a:spcAft>
                <a:spcPts val="0"/>
              </a:spcAft>
              <a:buClrTx/>
              <a:buSzTx/>
              <a:buFontTx/>
              <a:buNone/>
              <a:tabLst>
                <a:tab pos="990600" algn="l"/>
              </a:tabLst>
              <a:defRPr/>
            </a:pPr>
            <a:r>
              <a:rPr kumimoji="0" lang="de-DE" sz="1050" b="1" i="0" u="none" strike="noStrike" kern="0" cap="none" spc="0" normalizeH="0" baseline="0" noProof="0" dirty="0" err="1">
                <a:ln>
                  <a:noFill/>
                </a:ln>
                <a:solidFill>
                  <a:srgbClr val="FFFFFF"/>
                </a:solidFill>
                <a:effectLst/>
                <a:uLnTx/>
                <a:uFillTx/>
                <a:latin typeface="+mj-lt"/>
              </a:rPr>
              <a:t>PLr</a:t>
            </a:r>
            <a:endParaRPr kumimoji="0" lang="de-DE" sz="1050" b="1" i="0" u="none" strike="noStrike" kern="0" cap="none" spc="0" normalizeH="0" baseline="0" noProof="0" dirty="0">
              <a:ln>
                <a:noFill/>
              </a:ln>
              <a:solidFill>
                <a:srgbClr val="FFFFFF"/>
              </a:solidFill>
              <a:effectLst/>
              <a:uLnTx/>
              <a:uFillTx/>
              <a:latin typeface="+mj-lt"/>
            </a:endParaRPr>
          </a:p>
        </p:txBody>
      </p:sp>
      <p:sp>
        <p:nvSpPr>
          <p:cNvPr id="127" name="Textfeld 126"/>
          <p:cNvSpPr txBox="1"/>
          <p:nvPr/>
        </p:nvSpPr>
        <p:spPr>
          <a:xfrm>
            <a:off x="2575707" y="2178897"/>
            <a:ext cx="1519682" cy="400110"/>
          </a:xfrm>
          <a:prstGeom prst="rect">
            <a:avLst/>
          </a:prstGeom>
          <a:noFill/>
        </p:spPr>
        <p:txBody>
          <a:bodyPr wrap="square" rtlCol="0">
            <a:spAutoFit/>
          </a:bodyPr>
          <a:lstStyle/>
          <a:p>
            <a:r>
              <a:rPr lang="de-DE" sz="1000" dirty="0">
                <a:solidFill>
                  <a:srgbClr val="000000"/>
                </a:solidFill>
                <a:latin typeface="+mj-lt"/>
              </a:rPr>
              <a:t>S1: Leicht </a:t>
            </a:r>
          </a:p>
          <a:p>
            <a:r>
              <a:rPr lang="de-DE" sz="1000" dirty="0">
                <a:solidFill>
                  <a:srgbClr val="000000"/>
                </a:solidFill>
                <a:latin typeface="+mj-lt"/>
              </a:rPr>
              <a:t>S2: Ernst</a:t>
            </a:r>
          </a:p>
        </p:txBody>
      </p:sp>
      <p:sp>
        <p:nvSpPr>
          <p:cNvPr id="128" name="Textfeld 127"/>
          <p:cNvSpPr txBox="1"/>
          <p:nvPr/>
        </p:nvSpPr>
        <p:spPr>
          <a:xfrm>
            <a:off x="3829919" y="2185191"/>
            <a:ext cx="1519682" cy="400110"/>
          </a:xfrm>
          <a:prstGeom prst="rect">
            <a:avLst/>
          </a:prstGeom>
          <a:noFill/>
        </p:spPr>
        <p:txBody>
          <a:bodyPr wrap="square" rtlCol="0">
            <a:spAutoFit/>
          </a:bodyPr>
          <a:lstStyle/>
          <a:p>
            <a:r>
              <a:rPr lang="de-DE" sz="1000" dirty="0">
                <a:solidFill>
                  <a:srgbClr val="000000"/>
                </a:solidFill>
                <a:latin typeface="+mj-lt"/>
              </a:rPr>
              <a:t>F1: Selten/kurz </a:t>
            </a:r>
          </a:p>
          <a:p>
            <a:r>
              <a:rPr lang="de-DE" sz="1000" dirty="0">
                <a:solidFill>
                  <a:srgbClr val="000000"/>
                </a:solidFill>
                <a:latin typeface="+mj-lt"/>
              </a:rPr>
              <a:t>F2: Häufig/lang</a:t>
            </a:r>
          </a:p>
        </p:txBody>
      </p:sp>
      <p:sp>
        <p:nvSpPr>
          <p:cNvPr id="129" name="Textfeld 128"/>
          <p:cNvSpPr txBox="1"/>
          <p:nvPr/>
        </p:nvSpPr>
        <p:spPr>
          <a:xfrm>
            <a:off x="5078850" y="2185191"/>
            <a:ext cx="1519682" cy="400110"/>
          </a:xfrm>
          <a:prstGeom prst="rect">
            <a:avLst/>
          </a:prstGeom>
          <a:noFill/>
        </p:spPr>
        <p:txBody>
          <a:bodyPr wrap="square" rtlCol="0">
            <a:spAutoFit/>
          </a:bodyPr>
          <a:lstStyle/>
          <a:p>
            <a:r>
              <a:rPr lang="de-DE" sz="1000" dirty="0">
                <a:solidFill>
                  <a:srgbClr val="000000"/>
                </a:solidFill>
                <a:latin typeface="+mj-lt"/>
              </a:rPr>
              <a:t>P1: Möglich </a:t>
            </a:r>
          </a:p>
          <a:p>
            <a:r>
              <a:rPr lang="de-DE" sz="1000" dirty="0">
                <a:solidFill>
                  <a:srgbClr val="000000"/>
                </a:solidFill>
                <a:latin typeface="+mj-lt"/>
              </a:rPr>
              <a:t>P2: Kaum möglich</a:t>
            </a:r>
          </a:p>
        </p:txBody>
      </p:sp>
      <p:sp>
        <p:nvSpPr>
          <p:cNvPr id="69" name="Inhaltsplatzhalter 2"/>
          <p:cNvSpPr txBox="1">
            <a:spLocks/>
          </p:cNvSpPr>
          <p:nvPr/>
        </p:nvSpPr>
        <p:spPr bwMode="auto">
          <a:xfrm>
            <a:off x="624417" y="5021503"/>
            <a:ext cx="9466262" cy="124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sz="1600" b="0" i="0" u="none" strike="noStrike" kern="0" cap="none" spc="0" normalizeH="0" baseline="0" noProof="0" dirty="0">
                <a:ln>
                  <a:noFill/>
                </a:ln>
                <a:solidFill>
                  <a:srgbClr val="000000"/>
                </a:solidFill>
                <a:effectLst/>
                <a:uLnTx/>
                <a:uFillTx/>
                <a:latin typeface="+mj-lt"/>
                <a:ea typeface="+mn-ea"/>
                <a:cs typeface="+mn-cs"/>
              </a:rPr>
              <a:t>Die Abschätzung einer Gefährdung erfolgt über 3 Risikoparameter mit jeweils 2 Abstufungen</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sz="1600" b="0" i="0" u="none" strike="noStrike" kern="0" cap="none" spc="0" normalizeH="0" baseline="0" noProof="0" dirty="0">
                <a:ln>
                  <a:noFill/>
                </a:ln>
                <a:solidFill>
                  <a:srgbClr val="000000"/>
                </a:solidFill>
                <a:effectLst/>
                <a:uLnTx/>
                <a:uFillTx/>
                <a:latin typeface="+mj-lt"/>
                <a:ea typeface="+mn-ea"/>
                <a:cs typeface="+mn-cs"/>
              </a:rPr>
              <a:t>Der Performance Level ist abhängig von der Maschinenstruktur, der Zuverlässigkeit der verwendeten Komponenten, der Fähigkeit Fehler zu erkennen sowie der Widerstandsfähigkeit gegen Fehler</a:t>
            </a:r>
          </a:p>
        </p:txBody>
      </p:sp>
    </p:spTree>
    <p:custDataLst>
      <p:tags r:id="rId1"/>
    </p:custDataLst>
    <p:extLst>
      <p:ext uri="{BB962C8B-B14F-4D97-AF65-F5344CB8AC3E}">
        <p14:creationId xmlns:p14="http://schemas.microsoft.com/office/powerpoint/2010/main" val="3993453542"/>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04BA0F2-3DAE-59FA-E8F0-CED3AF915B48}"/>
              </a:ext>
            </a:extLst>
          </p:cNvPr>
          <p:cNvSpPr>
            <a:spLocks noGrp="1"/>
          </p:cNvSpPr>
          <p:nvPr>
            <p:ph idx="1"/>
          </p:nvPr>
        </p:nvSpPr>
        <p:spPr>
          <a:xfrm>
            <a:off x="624419" y="5117224"/>
            <a:ext cx="10070589" cy="1555134"/>
          </a:xfrm>
        </p:spPr>
        <p:txBody>
          <a:bodyPr/>
          <a:lstStyle/>
          <a:p>
            <a:r>
              <a:rPr lang="de-CH" sz="1800" b="1" i="0" u="none" strike="noStrike" baseline="0" dirty="0">
                <a:solidFill>
                  <a:srgbClr val="000000"/>
                </a:solidFill>
                <a:latin typeface="+mj-lt"/>
              </a:rPr>
              <a:t>Performance Level  PL </a:t>
            </a:r>
            <a:endParaRPr lang="de-CH" sz="1800" b="0" i="0" u="none" strike="noStrike" baseline="0" dirty="0">
              <a:solidFill>
                <a:srgbClr val="000000"/>
              </a:solidFill>
              <a:latin typeface="+mj-lt"/>
            </a:endParaRPr>
          </a:p>
          <a:p>
            <a:pPr>
              <a:spcBef>
                <a:spcPts val="300"/>
              </a:spcBef>
            </a:pPr>
            <a:r>
              <a:rPr lang="de-CH" sz="1800" b="0" i="0" u="none" strike="noStrike" baseline="0" dirty="0">
                <a:solidFill>
                  <a:srgbClr val="000000"/>
                </a:solidFill>
                <a:latin typeface="+mj-lt"/>
              </a:rPr>
              <a:t>diskrete Stufe, welche die Fähigkeit von </a:t>
            </a:r>
            <a:r>
              <a:rPr lang="de-CH" sz="1800" b="0" i="1" u="none" strike="noStrike" baseline="0" dirty="0">
                <a:solidFill>
                  <a:srgbClr val="000000"/>
                </a:solidFill>
                <a:latin typeface="+mj-lt"/>
              </a:rPr>
              <a:t>sicherheitsbezogenen Teilen einer Steuerung </a:t>
            </a:r>
            <a:r>
              <a:rPr lang="de-CH" sz="1800" b="0" i="0" u="none" strike="noStrike" baseline="0" dirty="0">
                <a:solidFill>
                  <a:srgbClr val="000000"/>
                </a:solidFill>
                <a:latin typeface="+mj-lt"/>
              </a:rPr>
              <a:t>spezifiziert, eine </a:t>
            </a:r>
            <a:r>
              <a:rPr lang="de-CH" sz="1800" b="0" i="1" u="none" strike="noStrike" baseline="0" dirty="0">
                <a:solidFill>
                  <a:srgbClr val="000000"/>
                </a:solidFill>
                <a:latin typeface="+mj-lt"/>
              </a:rPr>
              <a:t>Sicherheitsfunktion </a:t>
            </a:r>
            <a:r>
              <a:rPr lang="de-CH" sz="1800" b="0" i="0" u="none" strike="noStrike" baseline="0" dirty="0">
                <a:solidFill>
                  <a:srgbClr val="000000"/>
                </a:solidFill>
                <a:latin typeface="+mj-lt"/>
              </a:rPr>
              <a:t>unter vorhersehbaren Bedingungen auszuführen </a:t>
            </a:r>
            <a:endParaRPr lang="de-CH" dirty="0">
              <a:latin typeface="+mj-lt"/>
            </a:endParaRPr>
          </a:p>
        </p:txBody>
      </p:sp>
      <p:sp>
        <p:nvSpPr>
          <p:cNvPr id="3" name="Titel 2">
            <a:extLst>
              <a:ext uri="{FF2B5EF4-FFF2-40B4-BE49-F238E27FC236}">
                <a16:creationId xmlns:a16="http://schemas.microsoft.com/office/drawing/2014/main" id="{144E83B3-8C24-D887-083A-78BEA01F33F5}"/>
              </a:ext>
            </a:extLst>
          </p:cNvPr>
          <p:cNvSpPr>
            <a:spLocks noGrp="1"/>
          </p:cNvSpPr>
          <p:nvPr>
            <p:ph type="title"/>
          </p:nvPr>
        </p:nvSpPr>
        <p:spPr/>
        <p:txBody>
          <a:bodyPr>
            <a:normAutofit fontScale="90000"/>
          </a:bodyPr>
          <a:lstStyle/>
          <a:p>
            <a:r>
              <a:rPr lang="de-CH" dirty="0"/>
              <a:t>Performance Level  PL </a:t>
            </a:r>
          </a:p>
        </p:txBody>
      </p:sp>
      <p:sp>
        <p:nvSpPr>
          <p:cNvPr id="4" name="Fußzeilenplatzhalter 3">
            <a:extLst>
              <a:ext uri="{FF2B5EF4-FFF2-40B4-BE49-F238E27FC236}">
                <a16:creationId xmlns:a16="http://schemas.microsoft.com/office/drawing/2014/main" id="{A1E19567-2B88-E0BD-5369-204BD6009C01}"/>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22089E6-B900-FAF2-5D5E-7DD1E9CD31FF}"/>
              </a:ext>
            </a:extLst>
          </p:cNvPr>
          <p:cNvSpPr>
            <a:spLocks noGrp="1"/>
          </p:cNvSpPr>
          <p:nvPr>
            <p:ph type="sldNum" sz="quarter" idx="16"/>
          </p:nvPr>
        </p:nvSpPr>
        <p:spPr/>
        <p:txBody>
          <a:bodyPr/>
          <a:lstStyle/>
          <a:p>
            <a:fld id="{61F2C2C2-1EE4-4D60-B09F-2141F977BFAA}" type="slidenum">
              <a:rPr lang="de-DE" altLang="de-DE" smtClean="0"/>
              <a:pPr/>
              <a:t>16</a:t>
            </a:fld>
            <a:endParaRPr lang="de-DE" altLang="de-DE"/>
          </a:p>
        </p:txBody>
      </p:sp>
      <p:pic>
        <p:nvPicPr>
          <p:cNvPr id="6" name="Grafik 5">
            <a:extLst>
              <a:ext uri="{FF2B5EF4-FFF2-40B4-BE49-F238E27FC236}">
                <a16:creationId xmlns:a16="http://schemas.microsoft.com/office/drawing/2014/main" id="{1D4BE62D-482B-07B2-E1AE-97EF295ED157}"/>
              </a:ext>
            </a:extLst>
          </p:cNvPr>
          <p:cNvPicPr>
            <a:picLocks noChangeAspect="1"/>
          </p:cNvPicPr>
          <p:nvPr/>
        </p:nvPicPr>
        <p:blipFill>
          <a:blip r:embed="rId2"/>
          <a:stretch>
            <a:fillRect/>
          </a:stretch>
        </p:blipFill>
        <p:spPr>
          <a:xfrm>
            <a:off x="1599593" y="1409332"/>
            <a:ext cx="8529828" cy="3707892"/>
          </a:xfrm>
          <a:prstGeom prst="rect">
            <a:avLst/>
          </a:prstGeom>
        </p:spPr>
      </p:pic>
      <p:sp>
        <p:nvSpPr>
          <p:cNvPr id="7" name="Ellipse 6">
            <a:extLst>
              <a:ext uri="{FF2B5EF4-FFF2-40B4-BE49-F238E27FC236}">
                <a16:creationId xmlns:a16="http://schemas.microsoft.com/office/drawing/2014/main" id="{EE198BE1-0CE8-58D7-07F3-960455923EA1}"/>
              </a:ext>
            </a:extLst>
          </p:cNvPr>
          <p:cNvSpPr/>
          <p:nvPr/>
        </p:nvSpPr>
        <p:spPr>
          <a:xfrm>
            <a:off x="7176304" y="2141317"/>
            <a:ext cx="1377388" cy="2766349"/>
          </a:xfrm>
          <a:prstGeom prst="ellipse">
            <a:avLst/>
          </a:prstGeom>
          <a:noFill/>
          <a:ln w="38100">
            <a:solidFill>
              <a:srgbClr val="C32E15"/>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8" name="Pfeil: nach rechts 7">
            <a:extLst>
              <a:ext uri="{FF2B5EF4-FFF2-40B4-BE49-F238E27FC236}">
                <a16:creationId xmlns:a16="http://schemas.microsoft.com/office/drawing/2014/main" id="{E02846EA-4E03-9AB1-9716-34C448BEDC79}"/>
              </a:ext>
            </a:extLst>
          </p:cNvPr>
          <p:cNvSpPr/>
          <p:nvPr/>
        </p:nvSpPr>
        <p:spPr>
          <a:xfrm rot="19602129">
            <a:off x="6428349" y="4931659"/>
            <a:ext cx="1103225" cy="303774"/>
          </a:xfrm>
          <a:prstGeom prst="rightArrow">
            <a:avLst/>
          </a:prstGeom>
          <a:noFill/>
          <a:ln w="38100">
            <a:solidFill>
              <a:srgbClr val="C32E15"/>
            </a:solid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CH" sz="1400" dirty="0">
              <a:solidFill>
                <a:schemeClr val="tx1"/>
              </a:solidFill>
            </a:endParaRPr>
          </a:p>
        </p:txBody>
      </p:sp>
    </p:spTree>
    <p:extLst>
      <p:ext uri="{BB962C8B-B14F-4D97-AF65-F5344CB8AC3E}">
        <p14:creationId xmlns:p14="http://schemas.microsoft.com/office/powerpoint/2010/main" val="1598037602"/>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4773EAF-8FAA-38B6-2498-E61DAD9958AC}"/>
              </a:ext>
            </a:extLst>
          </p:cNvPr>
          <p:cNvSpPr>
            <a:spLocks noGrp="1"/>
          </p:cNvSpPr>
          <p:nvPr>
            <p:ph type="title"/>
          </p:nvPr>
        </p:nvSpPr>
        <p:spPr/>
        <p:txBody>
          <a:bodyPr>
            <a:normAutofit fontScale="90000"/>
          </a:bodyPr>
          <a:lstStyle/>
          <a:p>
            <a:r>
              <a:rPr lang="de-CH" dirty="0"/>
              <a:t>Sicherheits-Integritätslevel </a:t>
            </a:r>
          </a:p>
        </p:txBody>
      </p:sp>
      <p:sp>
        <p:nvSpPr>
          <p:cNvPr id="5" name="Foliennummernplatzhalter 4">
            <a:extLst>
              <a:ext uri="{FF2B5EF4-FFF2-40B4-BE49-F238E27FC236}">
                <a16:creationId xmlns:a16="http://schemas.microsoft.com/office/drawing/2014/main" id="{0B206CFE-1D44-D231-71FC-03303134037A}"/>
              </a:ext>
            </a:extLst>
          </p:cNvPr>
          <p:cNvSpPr>
            <a:spLocks noGrp="1"/>
          </p:cNvSpPr>
          <p:nvPr>
            <p:ph type="sldNum" sz="quarter" idx="16"/>
          </p:nvPr>
        </p:nvSpPr>
        <p:spPr/>
        <p:txBody>
          <a:bodyPr/>
          <a:lstStyle/>
          <a:p>
            <a:fld id="{61F2C2C2-1EE4-4D60-B09F-2141F977BFAA}" type="slidenum">
              <a:rPr lang="de-DE" altLang="de-DE" smtClean="0"/>
              <a:pPr/>
              <a:t>17</a:t>
            </a:fld>
            <a:endParaRPr lang="de-DE" altLang="de-DE"/>
          </a:p>
        </p:txBody>
      </p:sp>
      <p:sp>
        <p:nvSpPr>
          <p:cNvPr id="2" name="Inhaltsplatzhalter 1">
            <a:extLst>
              <a:ext uri="{FF2B5EF4-FFF2-40B4-BE49-F238E27FC236}">
                <a16:creationId xmlns:a16="http://schemas.microsoft.com/office/drawing/2014/main" id="{A6BC22C7-777C-5638-4741-F74E49AD19B3}"/>
              </a:ext>
            </a:extLst>
          </p:cNvPr>
          <p:cNvSpPr>
            <a:spLocks noGrp="1"/>
          </p:cNvSpPr>
          <p:nvPr>
            <p:ph idx="1"/>
          </p:nvPr>
        </p:nvSpPr>
        <p:spPr>
          <a:xfrm>
            <a:off x="536192" y="1012824"/>
            <a:ext cx="11466755" cy="4832352"/>
          </a:xfrm>
        </p:spPr>
        <p:txBody>
          <a:bodyPr/>
          <a:lstStyle/>
          <a:p>
            <a:r>
              <a:rPr lang="de-CH" sz="1800" b="0" i="0" u="none" strike="noStrike" baseline="0" dirty="0">
                <a:solidFill>
                  <a:srgbClr val="000000"/>
                </a:solidFill>
                <a:latin typeface="+mj-lt"/>
              </a:rPr>
              <a:t>diskrete Stufe (eine von vier möglichen) zur Festlegung der Anforderungen an die Sicherheitsintegrität der </a:t>
            </a:r>
            <a:r>
              <a:rPr lang="de-CH" sz="1800" b="0" i="1" u="none" strike="noStrike" baseline="0" dirty="0">
                <a:solidFill>
                  <a:srgbClr val="000000"/>
                </a:solidFill>
                <a:latin typeface="+mj-lt"/>
              </a:rPr>
              <a:t>Sicherheitsfunktionen, </a:t>
            </a:r>
            <a:r>
              <a:rPr lang="de-CH" sz="1800" b="0" i="0" u="none" strike="noStrike" baseline="0" dirty="0">
                <a:solidFill>
                  <a:srgbClr val="000000"/>
                </a:solidFill>
                <a:latin typeface="+mj-lt"/>
              </a:rPr>
              <a:t>die den sicherheitsbezogenen Systemen zugeordnet werden, wobei der Sicherheits-Integritätslevel 4 die höchste Stufe der Sicherheitsintegrität und der Sicherheits-Integritätslevel 1 die niedrigste darstellt </a:t>
            </a:r>
            <a:endParaRPr lang="de-CH" dirty="0">
              <a:latin typeface="+mj-lt"/>
            </a:endParaRPr>
          </a:p>
        </p:txBody>
      </p:sp>
      <p:sp>
        <p:nvSpPr>
          <p:cNvPr id="6" name="Rechteck 5">
            <a:extLst>
              <a:ext uri="{FF2B5EF4-FFF2-40B4-BE49-F238E27FC236}">
                <a16:creationId xmlns:a16="http://schemas.microsoft.com/office/drawing/2014/main" id="{8DA92837-3108-05B6-17F1-38672A179DD4}"/>
              </a:ext>
            </a:extLst>
          </p:cNvPr>
          <p:cNvSpPr/>
          <p:nvPr/>
        </p:nvSpPr>
        <p:spPr>
          <a:xfrm>
            <a:off x="6041496" y="6148137"/>
            <a:ext cx="6150504" cy="709863"/>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7" name="Grafik 6">
            <a:extLst>
              <a:ext uri="{FF2B5EF4-FFF2-40B4-BE49-F238E27FC236}">
                <a16:creationId xmlns:a16="http://schemas.microsoft.com/office/drawing/2014/main" id="{7B127D8E-EA7E-87D9-F959-48E8863DEE04}"/>
              </a:ext>
            </a:extLst>
          </p:cNvPr>
          <p:cNvPicPr>
            <a:picLocks noChangeAspect="1"/>
          </p:cNvPicPr>
          <p:nvPr/>
        </p:nvPicPr>
        <p:blipFill rotWithShape="1">
          <a:blip r:embed="rId2"/>
          <a:srcRect b="7922"/>
          <a:stretch/>
        </p:blipFill>
        <p:spPr>
          <a:xfrm>
            <a:off x="1616533" y="2061828"/>
            <a:ext cx="10242035" cy="4610530"/>
          </a:xfrm>
          <a:prstGeom prst="rect">
            <a:avLst/>
          </a:prstGeom>
        </p:spPr>
      </p:pic>
    </p:spTree>
    <p:extLst>
      <p:ext uri="{BB962C8B-B14F-4D97-AF65-F5344CB8AC3E}">
        <p14:creationId xmlns:p14="http://schemas.microsoft.com/office/powerpoint/2010/main" val="187554935"/>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8B227D2-592D-8BA3-B6B1-41404810AF7E}"/>
              </a:ext>
            </a:extLst>
          </p:cNvPr>
          <p:cNvSpPr>
            <a:spLocks noGrp="1"/>
          </p:cNvSpPr>
          <p:nvPr>
            <p:ph type="title"/>
          </p:nvPr>
        </p:nvSpPr>
        <p:spPr/>
        <p:txBody>
          <a:bodyPr>
            <a:normAutofit fontScale="90000"/>
          </a:bodyPr>
          <a:lstStyle/>
          <a:p>
            <a:r>
              <a:rPr lang="de-CH" dirty="0"/>
              <a:t>Performance Level und Sicherheits-Integritätslevel </a:t>
            </a:r>
          </a:p>
        </p:txBody>
      </p:sp>
      <p:sp>
        <p:nvSpPr>
          <p:cNvPr id="4" name="Fußzeilenplatzhalter 3">
            <a:extLst>
              <a:ext uri="{FF2B5EF4-FFF2-40B4-BE49-F238E27FC236}">
                <a16:creationId xmlns:a16="http://schemas.microsoft.com/office/drawing/2014/main" id="{3E99AFCF-7067-B971-DDA4-0FCB0E50FBEC}"/>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F9E8D93F-9A4C-98A7-B4AA-E899292AE619}"/>
              </a:ext>
            </a:extLst>
          </p:cNvPr>
          <p:cNvSpPr>
            <a:spLocks noGrp="1"/>
          </p:cNvSpPr>
          <p:nvPr>
            <p:ph type="sldNum" sz="quarter" idx="16"/>
          </p:nvPr>
        </p:nvSpPr>
        <p:spPr/>
        <p:txBody>
          <a:bodyPr/>
          <a:lstStyle/>
          <a:p>
            <a:fld id="{61F2C2C2-1EE4-4D60-B09F-2141F977BFAA}" type="slidenum">
              <a:rPr lang="de-DE" altLang="de-DE" smtClean="0"/>
              <a:pPr/>
              <a:t>18</a:t>
            </a:fld>
            <a:endParaRPr lang="de-DE" altLang="de-DE"/>
          </a:p>
        </p:txBody>
      </p:sp>
      <p:pic>
        <p:nvPicPr>
          <p:cNvPr id="1026" name="Picture 2" descr="Umrechnung von Performance Level PL auf Sicherheits-Integritätslevel SIL">
            <a:extLst>
              <a:ext uri="{FF2B5EF4-FFF2-40B4-BE49-F238E27FC236}">
                <a16:creationId xmlns:a16="http://schemas.microsoft.com/office/drawing/2014/main" id="{9915A0B1-D407-13DD-999F-2C35FCDE6A2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765"/>
          <a:stretch/>
        </p:blipFill>
        <p:spPr bwMode="auto">
          <a:xfrm>
            <a:off x="3426676" y="3656515"/>
            <a:ext cx="5918046" cy="3056246"/>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37032C3E-2DC1-83AA-862B-8193C62FAC5C}"/>
              </a:ext>
            </a:extLst>
          </p:cNvPr>
          <p:cNvSpPr txBox="1"/>
          <p:nvPr/>
        </p:nvSpPr>
        <p:spPr>
          <a:xfrm>
            <a:off x="470925" y="994248"/>
            <a:ext cx="11599753" cy="2662267"/>
          </a:xfrm>
          <a:prstGeom prst="rect">
            <a:avLst/>
          </a:prstGeom>
          <a:noFill/>
        </p:spPr>
        <p:txBody>
          <a:bodyPr wrap="square">
            <a:spAutoFit/>
          </a:bodyPr>
          <a:lstStyle/>
          <a:p>
            <a:pPr marL="285750" indent="-285750">
              <a:buFont typeface="Arial" panose="020B0604020202020204" pitchFamily="34" charset="0"/>
              <a:buChar char="•"/>
            </a:pPr>
            <a:r>
              <a:rPr lang="de-CH" b="0" i="0" dirty="0">
                <a:effectLst/>
                <a:latin typeface="Helvetica" panose="020B0604020202020204" pitchFamily="34" charset="0"/>
              </a:rPr>
              <a:t>Der Performance Level und Sicherheits-Integritätslevel sind so definiert, dass ihre Abstufungen übereinstimmen. Daher kann man quasi von PL auf SIL „umrechnen“.</a:t>
            </a:r>
            <a:endParaRPr lang="de-CH" dirty="0">
              <a:solidFill>
                <a:srgbClr val="525252"/>
              </a:solidFill>
              <a:latin typeface="+mj-lt"/>
            </a:endParaRPr>
          </a:p>
          <a:p>
            <a:pPr marL="285750" indent="-285750">
              <a:buFont typeface="Arial" panose="020B0604020202020204" pitchFamily="34" charset="0"/>
              <a:buChar char="•"/>
            </a:pPr>
            <a:r>
              <a:rPr lang="de-CH" sz="1800" b="1" i="0" u="none" strike="noStrike" baseline="0" dirty="0">
                <a:solidFill>
                  <a:srgbClr val="000000"/>
                </a:solidFill>
                <a:latin typeface="+mj-lt"/>
              </a:rPr>
              <a:t>mittlere Häufigkeit eines gefahrbringenden Ausfalls je Stunde </a:t>
            </a:r>
            <a:r>
              <a:rPr lang="en-US" sz="1800" b="1" i="0" u="none" strike="noStrike" baseline="0" dirty="0">
                <a:solidFill>
                  <a:srgbClr val="000000"/>
                </a:solidFill>
                <a:latin typeface="+mj-lt"/>
              </a:rPr>
              <a:t>PFH</a:t>
            </a:r>
            <a:r>
              <a:rPr lang="en-US" sz="1800" b="0" i="0" u="none" strike="noStrike" baseline="0" dirty="0">
                <a:solidFill>
                  <a:srgbClr val="000000"/>
                </a:solidFill>
                <a:latin typeface="+mj-lt"/>
              </a:rPr>
              <a:t>, </a:t>
            </a:r>
            <a:r>
              <a:rPr lang="en-US" sz="1800" b="0" i="0" u="none" strike="noStrike" baseline="0" dirty="0" err="1">
                <a:solidFill>
                  <a:srgbClr val="000000"/>
                </a:solidFill>
                <a:latin typeface="+mj-lt"/>
              </a:rPr>
              <a:t>en</a:t>
            </a:r>
            <a:r>
              <a:rPr lang="en-US" sz="1800" b="0" i="0" u="none" strike="noStrike" baseline="0" dirty="0">
                <a:solidFill>
                  <a:srgbClr val="000000"/>
                </a:solidFill>
                <a:latin typeface="+mj-lt"/>
              </a:rPr>
              <a:t>: average frequency of a dangerous failure per hour: </a:t>
            </a:r>
            <a:r>
              <a:rPr lang="en-US" dirty="0">
                <a:solidFill>
                  <a:srgbClr val="000000"/>
                </a:solidFill>
                <a:latin typeface="+mj-lt"/>
              </a:rPr>
              <a:t> </a:t>
            </a:r>
            <a:r>
              <a:rPr lang="de-CH" sz="1800" b="0" i="0" u="none" strike="noStrike" baseline="0" dirty="0">
                <a:solidFill>
                  <a:srgbClr val="000000"/>
                </a:solidFill>
                <a:latin typeface="+mj-lt"/>
              </a:rPr>
              <a:t>mittlere Häufigkeit eines gefahrbringenden Ausfalls eines </a:t>
            </a:r>
            <a:r>
              <a:rPr lang="de-CH" sz="1800" b="0" i="1" u="none" strike="noStrike" baseline="0" dirty="0">
                <a:solidFill>
                  <a:srgbClr val="000000"/>
                </a:solidFill>
                <a:latin typeface="+mj-lt"/>
              </a:rPr>
              <a:t>sicherheitsbezogenen Teils eines Systems</a:t>
            </a:r>
          </a:p>
          <a:p>
            <a:pPr marL="285750" indent="-285750">
              <a:spcAft>
                <a:spcPts val="600"/>
              </a:spcAft>
              <a:buFont typeface="Arial" panose="020B0604020202020204" pitchFamily="34" charset="0"/>
              <a:buChar char="•"/>
            </a:pPr>
            <a:r>
              <a:rPr lang="de-CH" sz="1800" b="1" i="0" u="none" strike="noStrike" baseline="0" dirty="0">
                <a:solidFill>
                  <a:srgbClr val="000000"/>
                </a:solidFill>
                <a:latin typeface="+mj-lt"/>
              </a:rPr>
              <a:t>bewährtes Bauteil: </a:t>
            </a:r>
            <a:r>
              <a:rPr lang="de-CH" sz="1800" b="0" i="0" u="none" strike="noStrike" baseline="0" dirty="0">
                <a:solidFill>
                  <a:srgbClr val="000000"/>
                </a:solidFill>
                <a:latin typeface="+mj-lt"/>
              </a:rPr>
              <a:t>Bauteil, das erfolgreich in sicherheitsbezogenen Anwendungen eingesetzt wurde </a:t>
            </a:r>
            <a:endParaRPr lang="de-CH" dirty="0">
              <a:solidFill>
                <a:srgbClr val="000000"/>
              </a:solidFill>
              <a:latin typeface="+mj-lt"/>
            </a:endParaRPr>
          </a:p>
          <a:p>
            <a:r>
              <a:rPr lang="de-CH" b="0" i="0" dirty="0">
                <a:effectLst/>
                <a:latin typeface="Helvetica" panose="020B0604020202020204" pitchFamily="34" charset="0"/>
              </a:rPr>
              <a:t>Die Folgende Tabelle zeigt den Zusammenhang zwischen PL und SIL. Die Größe, anhand der sich die Abstufung orientiert ist der </a:t>
            </a:r>
            <a:r>
              <a:rPr lang="de-CH" b="0" i="0" dirty="0" err="1">
                <a:effectLst/>
                <a:latin typeface="Helvetica" panose="020B0604020202020204" pitchFamily="34" charset="0"/>
              </a:rPr>
              <a:t>PFHd</a:t>
            </a:r>
            <a:r>
              <a:rPr lang="de-CH" b="0" i="0" dirty="0">
                <a:effectLst/>
                <a:latin typeface="Helvetica" panose="020B0604020202020204" pitchFamily="34" charset="0"/>
              </a:rPr>
              <a:t> -Wert (</a:t>
            </a:r>
            <a:r>
              <a:rPr lang="de-CH" b="0" i="0" dirty="0" err="1">
                <a:effectLst/>
                <a:latin typeface="Helvetica" panose="020B0604020202020204" pitchFamily="34" charset="0"/>
              </a:rPr>
              <a:t>propability</a:t>
            </a:r>
            <a:r>
              <a:rPr lang="de-CH" b="0" i="0" dirty="0">
                <a:effectLst/>
                <a:latin typeface="Helvetica" panose="020B0604020202020204" pitchFamily="34" charset="0"/>
              </a:rPr>
              <a:t> </a:t>
            </a:r>
            <a:r>
              <a:rPr lang="de-CH" b="0" i="0" dirty="0" err="1">
                <a:effectLst/>
                <a:latin typeface="Helvetica" panose="020B0604020202020204" pitchFamily="34" charset="0"/>
              </a:rPr>
              <a:t>of</a:t>
            </a:r>
            <a:r>
              <a:rPr lang="de-CH" b="0" i="0" dirty="0">
                <a:effectLst/>
                <a:latin typeface="Helvetica" panose="020B0604020202020204" pitchFamily="34" charset="0"/>
              </a:rPr>
              <a:t> </a:t>
            </a:r>
            <a:r>
              <a:rPr lang="de-CH" b="0" i="0" dirty="0" err="1">
                <a:effectLst/>
                <a:latin typeface="Helvetica" panose="020B0604020202020204" pitchFamily="34" charset="0"/>
              </a:rPr>
              <a:t>dangerous</a:t>
            </a:r>
            <a:r>
              <a:rPr lang="de-CH" b="0" i="0" dirty="0">
                <a:effectLst/>
                <a:latin typeface="Helvetica" panose="020B0604020202020204" pitchFamily="34" charset="0"/>
              </a:rPr>
              <a:t> </a:t>
            </a:r>
            <a:r>
              <a:rPr lang="de-CH" b="0" i="0" dirty="0" err="1">
                <a:effectLst/>
                <a:latin typeface="Helvetica" panose="020B0604020202020204" pitchFamily="34" charset="0"/>
              </a:rPr>
              <a:t>failure</a:t>
            </a:r>
            <a:r>
              <a:rPr lang="de-CH" b="0" i="0" dirty="0">
                <a:effectLst/>
                <a:latin typeface="Helvetica" panose="020B0604020202020204" pitchFamily="34" charset="0"/>
              </a:rPr>
              <a:t> per </a:t>
            </a:r>
            <a:r>
              <a:rPr lang="de-CH" b="0" i="0" dirty="0" err="1">
                <a:effectLst/>
                <a:latin typeface="Helvetica" panose="020B0604020202020204" pitchFamily="34" charset="0"/>
              </a:rPr>
              <a:t>hour</a:t>
            </a:r>
            <a:r>
              <a:rPr lang="de-CH" b="0" i="0" dirty="0">
                <a:effectLst/>
                <a:latin typeface="Helvetica" panose="020B0604020202020204" pitchFamily="34" charset="0"/>
              </a:rPr>
              <a:t> – PFH), durch welchen man von PL auf SIL schließen kann und umgekehrt.</a:t>
            </a:r>
            <a:endParaRPr lang="de-CH" dirty="0">
              <a:latin typeface="+mj-lt"/>
            </a:endParaRPr>
          </a:p>
        </p:txBody>
      </p:sp>
    </p:spTree>
    <p:extLst>
      <p:ext uri="{BB962C8B-B14F-4D97-AF65-F5344CB8AC3E}">
        <p14:creationId xmlns:p14="http://schemas.microsoft.com/office/powerpoint/2010/main" val="64328899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77286E7-3322-34A5-6BF7-EBC7C0FD29EF}"/>
              </a:ext>
            </a:extLst>
          </p:cNvPr>
          <p:cNvSpPr>
            <a:spLocks noGrp="1"/>
          </p:cNvSpPr>
          <p:nvPr>
            <p:ph type="title"/>
          </p:nvPr>
        </p:nvSpPr>
        <p:spPr/>
        <p:txBody>
          <a:bodyPr>
            <a:normAutofit fontScale="90000"/>
          </a:bodyPr>
          <a:lstStyle/>
          <a:p>
            <a:r>
              <a:rPr lang="de-CH" dirty="0"/>
              <a:t>Performance Level und Sicherheits-Integritätslevel </a:t>
            </a:r>
          </a:p>
        </p:txBody>
      </p:sp>
      <p:sp>
        <p:nvSpPr>
          <p:cNvPr id="4" name="Fußzeilenplatzhalter 3">
            <a:extLst>
              <a:ext uri="{FF2B5EF4-FFF2-40B4-BE49-F238E27FC236}">
                <a16:creationId xmlns:a16="http://schemas.microsoft.com/office/drawing/2014/main" id="{4FD914DC-9666-E5C1-8E24-C271459F53FC}"/>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8D092C66-BDA9-9FB0-D924-2B8BA1E5FF67}"/>
              </a:ext>
            </a:extLst>
          </p:cNvPr>
          <p:cNvSpPr>
            <a:spLocks noGrp="1"/>
          </p:cNvSpPr>
          <p:nvPr>
            <p:ph type="sldNum" sz="quarter" idx="16"/>
          </p:nvPr>
        </p:nvSpPr>
        <p:spPr/>
        <p:txBody>
          <a:bodyPr/>
          <a:lstStyle/>
          <a:p>
            <a:fld id="{61F2C2C2-1EE4-4D60-B09F-2141F977BFAA}" type="slidenum">
              <a:rPr lang="de-DE" altLang="de-DE" smtClean="0"/>
              <a:pPr/>
              <a:t>19</a:t>
            </a:fld>
            <a:endParaRPr lang="de-DE" altLang="de-DE"/>
          </a:p>
        </p:txBody>
      </p:sp>
      <p:pic>
        <p:nvPicPr>
          <p:cNvPr id="6" name="Grafik 5">
            <a:extLst>
              <a:ext uri="{FF2B5EF4-FFF2-40B4-BE49-F238E27FC236}">
                <a16:creationId xmlns:a16="http://schemas.microsoft.com/office/drawing/2014/main" id="{88D878B0-0D06-1772-4F20-54D5A1B3B6C8}"/>
              </a:ext>
            </a:extLst>
          </p:cNvPr>
          <p:cNvPicPr>
            <a:picLocks noChangeAspect="1"/>
          </p:cNvPicPr>
          <p:nvPr/>
        </p:nvPicPr>
        <p:blipFill>
          <a:blip r:embed="rId2"/>
          <a:stretch>
            <a:fillRect/>
          </a:stretch>
        </p:blipFill>
        <p:spPr>
          <a:xfrm>
            <a:off x="383524" y="1126025"/>
            <a:ext cx="10839903" cy="4851037"/>
          </a:xfrm>
          <a:prstGeom prst="rect">
            <a:avLst/>
          </a:prstGeom>
        </p:spPr>
      </p:pic>
    </p:spTree>
    <p:extLst>
      <p:ext uri="{BB962C8B-B14F-4D97-AF65-F5344CB8AC3E}">
        <p14:creationId xmlns:p14="http://schemas.microsoft.com/office/powerpoint/2010/main" val="259298292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fontScale="90000"/>
          </a:bodyPr>
          <a:lstStyle/>
          <a:p>
            <a:r>
              <a:rPr lang="de-DE" dirty="0"/>
              <a:t>Planung und Themen der Vorlesung</a:t>
            </a:r>
          </a:p>
        </p:txBody>
      </p:sp>
      <p:sp>
        <p:nvSpPr>
          <p:cNvPr id="4" name="Fußzeilenplatzhalter 3"/>
          <p:cNvSpPr>
            <a:spLocks noGrp="1"/>
          </p:cNvSpPr>
          <p:nvPr>
            <p:ph type="ftr" sz="quarter" idx="15"/>
          </p:nvPr>
        </p:nvSpPr>
        <p:spPr/>
        <p:txBody>
          <a:bodyPr/>
          <a:lstStyle/>
          <a:p>
            <a:pPr defTabSz="354530"/>
            <a:r>
              <a:rPr lang="de-DE"/>
              <a:t>Automation II</a:t>
            </a:r>
            <a:endParaRPr lang="de-DE" altLang="de-DE" dirty="0">
              <a:solidFill>
                <a:srgbClr val="D40032"/>
              </a:solidFill>
            </a:endParaRPr>
          </a:p>
        </p:txBody>
      </p:sp>
      <p:sp>
        <p:nvSpPr>
          <p:cNvPr id="5" name="Foliennummernplatzhalter 4"/>
          <p:cNvSpPr>
            <a:spLocks noGrp="1"/>
          </p:cNvSpPr>
          <p:nvPr>
            <p:ph type="sldNum" sz="quarter" idx="16"/>
          </p:nvPr>
        </p:nvSpPr>
        <p:spPr/>
        <p:txBody>
          <a:bodyPr/>
          <a:lstStyle/>
          <a:p>
            <a:fld id="{61F2C2C2-1EE4-4D60-B09F-2141F977BFAA}" type="slidenum">
              <a:rPr lang="de-DE" altLang="de-DE" smtClean="0"/>
              <a:pPr/>
              <a:t>2</a:t>
            </a:fld>
            <a:endParaRPr lang="de-DE" altLang="de-DE"/>
          </a:p>
        </p:txBody>
      </p:sp>
      <p:graphicFrame>
        <p:nvGraphicFramePr>
          <p:cNvPr id="2" name="Tabelle 1"/>
          <p:cNvGraphicFramePr>
            <a:graphicFrameLocks noGrp="1"/>
          </p:cNvGraphicFramePr>
          <p:nvPr>
            <p:extLst>
              <p:ext uri="{D42A27DB-BD31-4B8C-83A1-F6EECF244321}">
                <p14:modId xmlns:p14="http://schemas.microsoft.com/office/powerpoint/2010/main" val="1084362032"/>
              </p:ext>
            </p:extLst>
          </p:nvPr>
        </p:nvGraphicFramePr>
        <p:xfrm>
          <a:off x="627265" y="1359763"/>
          <a:ext cx="8815243" cy="3995656"/>
        </p:xfrm>
        <a:graphic>
          <a:graphicData uri="http://schemas.openxmlformats.org/drawingml/2006/table">
            <a:tbl>
              <a:tblPr bandRow="1">
                <a:tableStyleId>{5C22544A-7EE6-4342-B048-85BDC9FD1C3A}</a:tableStyleId>
              </a:tblPr>
              <a:tblGrid>
                <a:gridCol w="8815243">
                  <a:extLst>
                    <a:ext uri="{9D8B030D-6E8A-4147-A177-3AD203B41FA5}">
                      <a16:colId xmlns:a16="http://schemas.microsoft.com/office/drawing/2014/main" val="2184603255"/>
                    </a:ext>
                  </a:extLst>
                </a:gridCol>
              </a:tblGrid>
              <a:tr h="570808">
                <a:tc>
                  <a:txBody>
                    <a:bodyPr/>
                    <a:lstStyle/>
                    <a:p>
                      <a:r>
                        <a:rPr lang="de-DE" sz="1800" b="1" dirty="0"/>
                        <a:t>Lerneinheit 1:</a:t>
                      </a:r>
                      <a:r>
                        <a:rPr lang="de-DE" sz="1800" b="1" baseline="0" dirty="0"/>
                        <a:t> </a:t>
                      </a:r>
                      <a:r>
                        <a:rPr lang="de-DE" sz="1800" b="0" kern="1200" dirty="0">
                          <a:solidFill>
                            <a:schemeClr val="dk1"/>
                          </a:solidFill>
                          <a:latin typeface="+mn-lt"/>
                          <a:ea typeface="+mn-ea"/>
                          <a:cs typeface="+mn-cs"/>
                        </a:rPr>
                        <a:t>Grundlagen der Robotik</a:t>
                      </a:r>
                    </a:p>
                  </a:txBody>
                  <a:tcPr marL="91392" marR="91392" marT="45696" marB="45696" anchor="ctr"/>
                </a:tc>
                <a:extLst>
                  <a:ext uri="{0D108BD9-81ED-4DB2-BD59-A6C34878D82A}">
                    <a16:rowId xmlns:a16="http://schemas.microsoft.com/office/drawing/2014/main" val="1119921043"/>
                  </a:ext>
                </a:extLst>
              </a:tr>
              <a:tr h="570808">
                <a:tc>
                  <a:txBody>
                    <a:bodyPr/>
                    <a:lstStyle/>
                    <a:p>
                      <a:r>
                        <a:rPr lang="de-DE" sz="1800" b="1" dirty="0"/>
                        <a:t>Lerneinheit 2: </a:t>
                      </a:r>
                      <a:r>
                        <a:rPr lang="de-DE" sz="1800" b="0" dirty="0"/>
                        <a:t>Roboter Programmierung</a:t>
                      </a:r>
                    </a:p>
                  </a:txBody>
                  <a:tcPr marL="91392" marR="91392" marT="45696" marB="45696" anchor="ctr"/>
                </a:tc>
                <a:extLst>
                  <a:ext uri="{0D108BD9-81ED-4DB2-BD59-A6C34878D82A}">
                    <a16:rowId xmlns:a16="http://schemas.microsoft.com/office/drawing/2014/main" val="1773966886"/>
                  </a:ext>
                </a:extLst>
              </a:tr>
              <a:tr h="570808">
                <a:tc>
                  <a:txBody>
                    <a:bodyPr/>
                    <a:lstStyle/>
                    <a:p>
                      <a:pPr marL="0" marR="0" lvl="0" indent="0" algn="l" defTabSz="371466" rtl="0" eaLnBrk="1" fontAlgn="auto" latinLnBrk="0" hangingPunct="1">
                        <a:lnSpc>
                          <a:spcPct val="100000"/>
                        </a:lnSpc>
                        <a:spcBef>
                          <a:spcPts val="0"/>
                        </a:spcBef>
                        <a:spcAft>
                          <a:spcPts val="0"/>
                        </a:spcAft>
                        <a:buClrTx/>
                        <a:buSzTx/>
                        <a:buFontTx/>
                        <a:buNone/>
                        <a:tabLst/>
                        <a:defRPr/>
                      </a:pPr>
                      <a:r>
                        <a:rPr lang="de-DE" sz="1800" b="1" dirty="0"/>
                        <a:t>Lerneinheit 3: </a:t>
                      </a:r>
                      <a:r>
                        <a:rPr lang="de-CH" sz="1800" b="0" kern="1200" dirty="0">
                          <a:solidFill>
                            <a:schemeClr val="dk1"/>
                          </a:solidFill>
                          <a:latin typeface="+mn-lt"/>
                          <a:ea typeface="+mn-ea"/>
                          <a:cs typeface="+mn-cs"/>
                        </a:rPr>
                        <a:t>Mensch-Roboter Kooperation</a:t>
                      </a:r>
                      <a:endParaRPr lang="de-DE" sz="1800" b="0" kern="1200" dirty="0">
                        <a:solidFill>
                          <a:schemeClr val="dk1"/>
                        </a:solidFill>
                        <a:latin typeface="+mn-lt"/>
                        <a:ea typeface="+mn-ea"/>
                        <a:cs typeface="+mn-cs"/>
                      </a:endParaRPr>
                    </a:p>
                  </a:txBody>
                  <a:tcPr marL="91392" marR="91392" marT="45696" marB="45696" anchor="ctr"/>
                </a:tc>
                <a:extLst>
                  <a:ext uri="{0D108BD9-81ED-4DB2-BD59-A6C34878D82A}">
                    <a16:rowId xmlns:a16="http://schemas.microsoft.com/office/drawing/2014/main" val="259308731"/>
                  </a:ext>
                </a:extLst>
              </a:tr>
              <a:tr h="570808">
                <a:tc>
                  <a:txBody>
                    <a:bodyPr/>
                    <a:lstStyle/>
                    <a:p>
                      <a:r>
                        <a:rPr lang="de-DE" sz="1800" b="1" dirty="0"/>
                        <a:t>Lerneinheit</a:t>
                      </a:r>
                      <a:r>
                        <a:rPr lang="de-DE" sz="1800" b="1" baseline="0" dirty="0"/>
                        <a:t> 4: </a:t>
                      </a:r>
                      <a:r>
                        <a:rPr lang="de-DE" sz="1800" b="1" kern="1200" baseline="0" dirty="0">
                          <a:solidFill>
                            <a:schemeClr val="tx2"/>
                          </a:solidFill>
                          <a:latin typeface="+mn-lt"/>
                          <a:ea typeface="+mn-ea"/>
                          <a:cs typeface="+mn-cs"/>
                        </a:rPr>
                        <a:t>Sicherheit in der Automatisierungstechnik und Robotik</a:t>
                      </a:r>
                    </a:p>
                  </a:txBody>
                  <a:tcPr marL="91392" marR="91392" marT="45696" marB="45696" anchor="ctr"/>
                </a:tc>
                <a:extLst>
                  <a:ext uri="{0D108BD9-81ED-4DB2-BD59-A6C34878D82A}">
                    <a16:rowId xmlns:a16="http://schemas.microsoft.com/office/drawing/2014/main" val="2801140450"/>
                  </a:ext>
                </a:extLst>
              </a:tr>
              <a:tr h="570808">
                <a:tc>
                  <a:txBody>
                    <a:bodyPr/>
                    <a:lstStyle/>
                    <a:p>
                      <a:r>
                        <a:rPr lang="de-DE" sz="1800" b="1" dirty="0"/>
                        <a:t>Lerneinheit 5: </a:t>
                      </a:r>
                      <a:r>
                        <a:rPr lang="de-DE" sz="1800" dirty="0"/>
                        <a:t>Intelligente und Sensitive Robotik</a:t>
                      </a:r>
                      <a:endParaRPr lang="de-DE" sz="1800" b="0" dirty="0"/>
                    </a:p>
                  </a:txBody>
                  <a:tcPr marL="91392" marR="91392" marT="45696" marB="45696" anchor="ctr"/>
                </a:tc>
                <a:extLst>
                  <a:ext uri="{0D108BD9-81ED-4DB2-BD59-A6C34878D82A}">
                    <a16:rowId xmlns:a16="http://schemas.microsoft.com/office/drawing/2014/main" val="3179442932"/>
                  </a:ext>
                </a:extLst>
              </a:tr>
              <a:tr h="570808">
                <a:tc>
                  <a:txBody>
                    <a:bodyPr/>
                    <a:lstStyle/>
                    <a:p>
                      <a:pPr marL="0" marR="0" lvl="0" indent="0" algn="l" defTabSz="371466" rtl="0" eaLnBrk="1" fontAlgn="auto" latinLnBrk="0" hangingPunct="1">
                        <a:lnSpc>
                          <a:spcPct val="100000"/>
                        </a:lnSpc>
                        <a:spcBef>
                          <a:spcPts val="0"/>
                        </a:spcBef>
                        <a:spcAft>
                          <a:spcPts val="0"/>
                        </a:spcAft>
                        <a:buClrTx/>
                        <a:buSzTx/>
                        <a:buFontTx/>
                        <a:buNone/>
                        <a:tabLst/>
                        <a:defRPr/>
                      </a:pPr>
                      <a:r>
                        <a:rPr lang="de-DE" sz="1800" b="1" dirty="0"/>
                        <a:t>Lerneinheit 6: </a:t>
                      </a:r>
                      <a:r>
                        <a:rPr lang="de-CH" sz="1800" dirty="0"/>
                        <a:t>Digitale Produktion</a:t>
                      </a:r>
                      <a:endParaRPr lang="de-DE" sz="1800" b="0" dirty="0">
                        <a:effectLst/>
                        <a:latin typeface="Times New Roman" panose="02020603050405020304" pitchFamily="18" charset="0"/>
                        <a:ea typeface="Times New Roman" panose="02020603050405020304" pitchFamily="18" charset="0"/>
                      </a:endParaRPr>
                    </a:p>
                  </a:txBody>
                  <a:tcPr marL="91392" marR="91392" marT="45696" marB="45696" anchor="ctr"/>
                </a:tc>
                <a:extLst>
                  <a:ext uri="{0D108BD9-81ED-4DB2-BD59-A6C34878D82A}">
                    <a16:rowId xmlns:a16="http://schemas.microsoft.com/office/drawing/2014/main" val="1237825800"/>
                  </a:ext>
                </a:extLst>
              </a:tr>
              <a:tr h="570808">
                <a:tc>
                  <a:txBody>
                    <a:bodyPr/>
                    <a:lstStyle/>
                    <a:p>
                      <a:r>
                        <a:rPr lang="de-DE" sz="1800" b="1" dirty="0"/>
                        <a:t>Lerneinheit 7: </a:t>
                      </a:r>
                      <a:r>
                        <a:rPr lang="de-DE" sz="1800" b="0" dirty="0"/>
                        <a:t>Robotik außerhalb der Fabrik</a:t>
                      </a:r>
                    </a:p>
                  </a:txBody>
                  <a:tcPr marL="91392" marR="91392" marT="45696" marB="45696" anchor="ctr"/>
                </a:tc>
                <a:extLst>
                  <a:ext uri="{0D108BD9-81ED-4DB2-BD59-A6C34878D82A}">
                    <a16:rowId xmlns:a16="http://schemas.microsoft.com/office/drawing/2014/main" val="1636876017"/>
                  </a:ext>
                </a:extLst>
              </a:tr>
            </a:tbl>
          </a:graphicData>
        </a:graphic>
      </p:graphicFrame>
    </p:spTree>
    <p:extLst>
      <p:ext uri="{BB962C8B-B14F-4D97-AF65-F5344CB8AC3E}">
        <p14:creationId xmlns:p14="http://schemas.microsoft.com/office/powerpoint/2010/main" val="1349345707"/>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13908C4-3893-40DE-3DAC-81E6BF73CBD1}"/>
              </a:ext>
            </a:extLst>
          </p:cNvPr>
          <p:cNvSpPr>
            <a:spLocks noGrp="1"/>
          </p:cNvSpPr>
          <p:nvPr>
            <p:ph type="title"/>
          </p:nvPr>
        </p:nvSpPr>
        <p:spPr/>
        <p:txBody>
          <a:bodyPr>
            <a:normAutofit fontScale="90000"/>
          </a:bodyPr>
          <a:lstStyle/>
          <a:p>
            <a:pPr>
              <a:lnSpc>
                <a:spcPct val="100000"/>
              </a:lnSpc>
            </a:pPr>
            <a:r>
              <a:rPr lang="de-CH" dirty="0"/>
              <a:t>Prozess der 3-Stufen-Methode zur Risikominderung</a:t>
            </a:r>
          </a:p>
        </p:txBody>
      </p:sp>
      <p:sp>
        <p:nvSpPr>
          <p:cNvPr id="4" name="Fußzeilenplatzhalter 3">
            <a:extLst>
              <a:ext uri="{FF2B5EF4-FFF2-40B4-BE49-F238E27FC236}">
                <a16:creationId xmlns:a16="http://schemas.microsoft.com/office/drawing/2014/main" id="{DAD55A23-9753-FECC-22F4-511BA1923F55}"/>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42B2B25D-5490-A507-6E64-94D495193FB0}"/>
              </a:ext>
            </a:extLst>
          </p:cNvPr>
          <p:cNvSpPr>
            <a:spLocks noGrp="1"/>
          </p:cNvSpPr>
          <p:nvPr>
            <p:ph type="sldNum" sz="quarter" idx="16"/>
          </p:nvPr>
        </p:nvSpPr>
        <p:spPr/>
        <p:txBody>
          <a:bodyPr/>
          <a:lstStyle/>
          <a:p>
            <a:fld id="{61F2C2C2-1EE4-4D60-B09F-2141F977BFAA}" type="slidenum">
              <a:rPr lang="de-DE" altLang="de-DE" smtClean="0"/>
              <a:pPr/>
              <a:t>20</a:t>
            </a:fld>
            <a:endParaRPr lang="de-DE" altLang="de-DE"/>
          </a:p>
        </p:txBody>
      </p:sp>
      <p:sp>
        <p:nvSpPr>
          <p:cNvPr id="7" name="Textfeld 6">
            <a:extLst>
              <a:ext uri="{FF2B5EF4-FFF2-40B4-BE49-F238E27FC236}">
                <a16:creationId xmlns:a16="http://schemas.microsoft.com/office/drawing/2014/main" id="{D1ACA142-80A6-CAC5-294E-C1506E1CD00F}"/>
              </a:ext>
            </a:extLst>
          </p:cNvPr>
          <p:cNvSpPr txBox="1"/>
          <p:nvPr/>
        </p:nvSpPr>
        <p:spPr>
          <a:xfrm>
            <a:off x="473808" y="1472512"/>
            <a:ext cx="5495477" cy="2892010"/>
          </a:xfrm>
          <a:prstGeom prst="rect">
            <a:avLst/>
          </a:prstGeom>
          <a:noFill/>
        </p:spPr>
        <p:txBody>
          <a:bodyPr wrap="square">
            <a:spAutoFit/>
          </a:bodyPr>
          <a:lstStyle/>
          <a:p>
            <a:pPr marL="226695" indent="-226695" algn="just">
              <a:lnSpc>
                <a:spcPct val="107000"/>
              </a:lnSpc>
              <a:spcAft>
                <a:spcPts val="300"/>
              </a:spcAft>
            </a:pPr>
            <a:r>
              <a:rPr lang="de-CH" sz="1800" b="1" dirty="0">
                <a:effectLst/>
                <a:latin typeface="Arial" panose="020B0604020202020204" pitchFamily="34" charset="0"/>
                <a:ea typeface="Arial" panose="020B0604020202020204" pitchFamily="34" charset="0"/>
                <a:cs typeface="Times New Roman" panose="02020603050405020304" pitchFamily="18" charset="0"/>
              </a:rPr>
              <a:t>Zusammenfassung Risikominderung:</a:t>
            </a:r>
            <a:endParaRPr lang="de-CH" sz="1800" dirty="0">
              <a:effectLst/>
              <a:latin typeface="Arial" panose="020B0604020202020204" pitchFamily="34" charset="0"/>
              <a:ea typeface="Arial" panose="020B0604020202020204" pitchFamily="34" charset="0"/>
              <a:cs typeface="Times New Roman" panose="02020603050405020304" pitchFamily="18" charset="0"/>
            </a:endParaRPr>
          </a:p>
          <a:p>
            <a:pPr algn="just">
              <a:lnSpc>
                <a:spcPct val="107000"/>
              </a:lnSpc>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Risikominderung der analysierten Gefährdung durch 3-Stufen-Methode:</a:t>
            </a:r>
          </a:p>
          <a:p>
            <a:pPr marL="342900" lvl="0" indent="-342900" algn="just">
              <a:lnSpc>
                <a:spcPct val="107000"/>
              </a:lnSpc>
              <a:spcAft>
                <a:spcPts val="300"/>
              </a:spcAft>
              <a:buClr>
                <a:srgbClr val="8C195F"/>
              </a:buClr>
              <a:buFont typeface="+mj-lt"/>
              <a:buAutoNum type="arabicPeriod"/>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Gestalten der Maschine sodass das Risiko so gut wie möglich gemindert wird.</a:t>
            </a:r>
          </a:p>
          <a:p>
            <a:pPr marL="342900" lvl="0" indent="-342900" algn="just">
              <a:lnSpc>
                <a:spcPct val="107000"/>
              </a:lnSpc>
              <a:spcAft>
                <a:spcPts val="300"/>
              </a:spcAft>
              <a:buClr>
                <a:srgbClr val="8C195F"/>
              </a:buClr>
              <a:buFont typeface="+mj-lt"/>
              <a:buAutoNum type="arabicPeriod"/>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finieren, gestalten und überprüfen notwendiger Schutzmaßnahmen.</a:t>
            </a:r>
          </a:p>
          <a:p>
            <a:pPr marL="342900" lvl="0" indent="-342900" algn="just">
              <a:lnSpc>
                <a:spcPct val="107000"/>
              </a:lnSpc>
              <a:spcAft>
                <a:spcPts val="300"/>
              </a:spcAft>
              <a:buClr>
                <a:srgbClr val="8C195F"/>
              </a:buClr>
              <a:buFont typeface="+mj-lt"/>
              <a:buAutoNum type="arabicPeriod"/>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finition, wie verbleibende Restrisken reduziert werden können, und Information der Benutzer</a:t>
            </a:r>
          </a:p>
        </p:txBody>
      </p:sp>
      <p:sp>
        <p:nvSpPr>
          <p:cNvPr id="2" name="Rechteck 1">
            <a:extLst>
              <a:ext uri="{FF2B5EF4-FFF2-40B4-BE49-F238E27FC236}">
                <a16:creationId xmlns:a16="http://schemas.microsoft.com/office/drawing/2014/main" id="{D354A09D-6ED8-EEF3-4234-A6156DA7D4D7}"/>
              </a:ext>
            </a:extLst>
          </p:cNvPr>
          <p:cNvSpPr/>
          <p:nvPr/>
        </p:nvSpPr>
        <p:spPr>
          <a:xfrm>
            <a:off x="6041496" y="6148137"/>
            <a:ext cx="6150504" cy="709863"/>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6" name="Grafik 5">
            <a:extLst>
              <a:ext uri="{FF2B5EF4-FFF2-40B4-BE49-F238E27FC236}">
                <a16:creationId xmlns:a16="http://schemas.microsoft.com/office/drawing/2014/main" id="{A0CE390D-CC8B-1EDE-0B29-1AF349617676}"/>
              </a:ext>
            </a:extLst>
          </p:cNvPr>
          <p:cNvPicPr>
            <a:picLocks noChangeAspect="1"/>
          </p:cNvPicPr>
          <p:nvPr/>
        </p:nvPicPr>
        <p:blipFill>
          <a:blip r:embed="rId2"/>
          <a:stretch>
            <a:fillRect/>
          </a:stretch>
        </p:blipFill>
        <p:spPr>
          <a:xfrm>
            <a:off x="6099595" y="849607"/>
            <a:ext cx="5763542" cy="5822751"/>
          </a:xfrm>
          <a:prstGeom prst="rect">
            <a:avLst/>
          </a:prstGeom>
        </p:spPr>
      </p:pic>
    </p:spTree>
    <p:extLst>
      <p:ext uri="{BB962C8B-B14F-4D97-AF65-F5344CB8AC3E}">
        <p14:creationId xmlns:p14="http://schemas.microsoft.com/office/powerpoint/2010/main" val="2283720192"/>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F59BFE5-BE57-6E66-8535-BA45E08CF79A}"/>
              </a:ext>
            </a:extLst>
          </p:cNvPr>
          <p:cNvSpPr>
            <a:spLocks noGrp="1"/>
          </p:cNvSpPr>
          <p:nvPr>
            <p:ph idx="1"/>
          </p:nvPr>
        </p:nvSpPr>
        <p:spPr>
          <a:xfrm>
            <a:off x="624418" y="1079868"/>
            <a:ext cx="9793577" cy="4832352"/>
          </a:xfrm>
        </p:spPr>
        <p:txBody>
          <a:bodyPr/>
          <a:lstStyle/>
          <a:p>
            <a:r>
              <a:rPr lang="de-CH" b="1" dirty="0"/>
              <a:t>Sicheres Gestalten </a:t>
            </a:r>
            <a:r>
              <a:rPr lang="de-CH" dirty="0"/>
              <a:t>ist die erste und wichtigste Stufe im Risikominderungsprozess. Hierbei werden mögliche Gefahren schon durch die Konstruktion und Gestaltung ausgeschlossen. Daher ist die Wirksamkeit des sicheren Gestaltens am höchsten. </a:t>
            </a:r>
          </a:p>
          <a:p>
            <a:pPr marL="285750" indent="-285750">
              <a:buFont typeface="Arial" panose="020B0604020202020204" pitchFamily="34" charset="0"/>
              <a:buChar char="•"/>
            </a:pPr>
            <a:r>
              <a:rPr lang="de-CH" dirty="0"/>
              <a:t>Aspekte des sicheren Gestaltens betreffen die Konstruktion der Maschine und die Wechselwirkungen zwischen den gefährdeten Personen und der Maschine.</a:t>
            </a:r>
          </a:p>
          <a:p>
            <a:pPr marL="285750" indent="-285750">
              <a:buFont typeface="Arial" panose="020B0604020202020204" pitchFamily="34" charset="0"/>
              <a:buChar char="•"/>
            </a:pPr>
            <a:r>
              <a:rPr lang="de-CH" dirty="0"/>
              <a:t>In jedem Fall sollen alle Komponenten so ausgewählt, angewendet und angepasst werden, dass im Falle eines Fehlers der Maschine die Sicherheit von Personen im Vordergrund steht. Die Vermeidung eines Schadens an der Maschine und der Umgebung soll ebenfalls beachtet werden. </a:t>
            </a:r>
          </a:p>
          <a:p>
            <a:pPr marL="285750" indent="-285750">
              <a:buFont typeface="Arial" panose="020B0604020202020204" pitchFamily="34" charset="0"/>
              <a:buChar char="•"/>
            </a:pPr>
            <a:r>
              <a:rPr lang="de-CH" dirty="0"/>
              <a:t>Alle Bestandteile der Maschinenkonstruktion sollen so spezifiziert werden, dass sie innerhalb ihrer zulässigen Grenzwerte funktionieren. Das Design sollte so einfach wie möglich ausgeführt werden. </a:t>
            </a:r>
          </a:p>
          <a:p>
            <a:pPr marL="285750" indent="-285750">
              <a:buFont typeface="Arial" panose="020B0604020202020204" pitchFamily="34" charset="0"/>
              <a:buChar char="•"/>
            </a:pPr>
            <a:r>
              <a:rPr lang="de-CH" dirty="0"/>
              <a:t>Sicherheitsbezogene Funktionen sind von anderen Funktionen so gut wie möglich zu trennen.</a:t>
            </a:r>
          </a:p>
          <a:p>
            <a:endParaRPr lang="de-CH" dirty="0"/>
          </a:p>
        </p:txBody>
      </p:sp>
      <p:sp>
        <p:nvSpPr>
          <p:cNvPr id="3" name="Titel 2">
            <a:extLst>
              <a:ext uri="{FF2B5EF4-FFF2-40B4-BE49-F238E27FC236}">
                <a16:creationId xmlns:a16="http://schemas.microsoft.com/office/drawing/2014/main" id="{D721E88B-0AD0-4AC2-7937-3BD32AF635EE}"/>
              </a:ext>
            </a:extLst>
          </p:cNvPr>
          <p:cNvSpPr>
            <a:spLocks noGrp="1"/>
          </p:cNvSpPr>
          <p:nvPr>
            <p:ph type="title"/>
          </p:nvPr>
        </p:nvSpPr>
        <p:spPr/>
        <p:txBody>
          <a:bodyPr>
            <a:normAutofit fontScale="90000"/>
          </a:bodyPr>
          <a:lstStyle/>
          <a:p>
            <a:r>
              <a:rPr lang="de-CH" dirty="0"/>
              <a:t>Sicheres Gestalten (inhärent sichere Konstruktion)</a:t>
            </a:r>
          </a:p>
        </p:txBody>
      </p:sp>
      <p:sp>
        <p:nvSpPr>
          <p:cNvPr id="4" name="Fußzeilenplatzhalter 3">
            <a:extLst>
              <a:ext uri="{FF2B5EF4-FFF2-40B4-BE49-F238E27FC236}">
                <a16:creationId xmlns:a16="http://schemas.microsoft.com/office/drawing/2014/main" id="{B39A0C7B-BF02-7E9D-F152-7008774964F7}"/>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4B4F9039-3D83-A272-BC39-0ACDB26D70CC}"/>
              </a:ext>
            </a:extLst>
          </p:cNvPr>
          <p:cNvSpPr>
            <a:spLocks noGrp="1"/>
          </p:cNvSpPr>
          <p:nvPr>
            <p:ph type="sldNum" sz="quarter" idx="16"/>
          </p:nvPr>
        </p:nvSpPr>
        <p:spPr/>
        <p:txBody>
          <a:bodyPr/>
          <a:lstStyle/>
          <a:p>
            <a:fld id="{61F2C2C2-1EE4-4D60-B09F-2141F977BFAA}" type="slidenum">
              <a:rPr lang="de-DE" altLang="de-DE" smtClean="0"/>
              <a:pPr/>
              <a:t>21</a:t>
            </a:fld>
            <a:endParaRPr lang="de-DE" altLang="de-DE"/>
          </a:p>
        </p:txBody>
      </p:sp>
    </p:spTree>
    <p:extLst>
      <p:ext uri="{BB962C8B-B14F-4D97-AF65-F5344CB8AC3E}">
        <p14:creationId xmlns:p14="http://schemas.microsoft.com/office/powerpoint/2010/main" val="1877148032"/>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6368700-CF52-3320-5859-BC93A3D933E6}"/>
              </a:ext>
            </a:extLst>
          </p:cNvPr>
          <p:cNvSpPr>
            <a:spLocks noGrp="1"/>
          </p:cNvSpPr>
          <p:nvPr>
            <p:ph idx="1"/>
          </p:nvPr>
        </p:nvSpPr>
        <p:spPr>
          <a:xfrm>
            <a:off x="383524" y="1012823"/>
            <a:ext cx="11567582" cy="5059203"/>
          </a:xfrm>
        </p:spPr>
        <p:txBody>
          <a:bodyPr/>
          <a:lstStyle/>
          <a:p>
            <a:r>
              <a:rPr lang="de-CH" sz="1800" dirty="0"/>
              <a:t>Eine </a:t>
            </a:r>
            <a:r>
              <a:rPr lang="de-CH" sz="1800" b="1" dirty="0"/>
              <a:t>technische Schutzmaßnahme </a:t>
            </a:r>
            <a:r>
              <a:rPr lang="de-CH" sz="1800" dirty="0"/>
              <a:t>wird durch </a:t>
            </a:r>
            <a:r>
              <a:rPr lang="de-CH" sz="1800" b="1" dirty="0"/>
              <a:t>eine oder mehrere Sicherheitsfunktionen realisiert</a:t>
            </a:r>
            <a:r>
              <a:rPr lang="de-CH" sz="1800" dirty="0"/>
              <a:t>. Jede </a:t>
            </a:r>
            <a:r>
              <a:rPr lang="de-CH" sz="1800" b="1" dirty="0"/>
              <a:t>Sicherheitsfunktion besteht </a:t>
            </a:r>
            <a:r>
              <a:rPr lang="de-CH" sz="1800" dirty="0"/>
              <a:t>aus </a:t>
            </a:r>
            <a:r>
              <a:rPr lang="de-CH" sz="1800" b="1" dirty="0"/>
              <a:t>mindestens einer Schutzeinrichtung</a:t>
            </a:r>
            <a:r>
              <a:rPr lang="de-CH" sz="1800" dirty="0"/>
              <a:t>. Es gibt drei </a:t>
            </a:r>
            <a:r>
              <a:rPr lang="de-CH" sz="1800" b="1" dirty="0"/>
              <a:t>Arten von Schutzeinrichtungen</a:t>
            </a:r>
            <a:r>
              <a:rPr lang="de-CH" sz="1800" dirty="0"/>
              <a:t>:</a:t>
            </a:r>
          </a:p>
          <a:p>
            <a:pPr marL="789498" lvl="1" indent="-285750">
              <a:spcBef>
                <a:spcPts val="300"/>
              </a:spcBef>
              <a:buFont typeface="Symbol" panose="05050102010706020507" pitchFamily="18" charset="2"/>
              <a:buChar char="-"/>
            </a:pPr>
            <a:r>
              <a:rPr lang="de-CH" sz="1800" b="1" dirty="0">
                <a:solidFill>
                  <a:schemeClr val="tx1"/>
                </a:solidFill>
              </a:rPr>
              <a:t>Mechanische Schutzeinrichtungen</a:t>
            </a:r>
            <a:r>
              <a:rPr lang="de-CH" sz="1800" dirty="0">
                <a:solidFill>
                  <a:schemeClr val="tx1"/>
                </a:solidFill>
              </a:rPr>
              <a:t>, die Teile, Stoffe oder Strahlung zurückhalten oder den Zugang/Zugriff dauerhaft verhindern (Zäune, Barrieren, Abdeckungen).</a:t>
            </a:r>
          </a:p>
          <a:p>
            <a:pPr marL="789498" lvl="1" indent="-285750">
              <a:spcBef>
                <a:spcPts val="300"/>
              </a:spcBef>
              <a:buFont typeface="Symbol" panose="05050102010706020507" pitchFamily="18" charset="2"/>
              <a:buChar char="-"/>
            </a:pPr>
            <a:r>
              <a:rPr lang="de-CH" sz="1800" b="1" dirty="0">
                <a:solidFill>
                  <a:schemeClr val="tx1"/>
                </a:solidFill>
              </a:rPr>
              <a:t>Schutzeinrichtungen, die in die Steuerung der Maschine eingebunden sind</a:t>
            </a:r>
            <a:r>
              <a:rPr lang="de-CH" sz="1800" dirty="0">
                <a:solidFill>
                  <a:schemeClr val="tx1"/>
                </a:solidFill>
              </a:rPr>
              <a:t>, um den sicheren Zustand einzuleiten, </a:t>
            </a:r>
            <a:r>
              <a:rPr lang="de-CH" sz="1800" b="1" dirty="0">
                <a:solidFill>
                  <a:schemeClr val="tx1"/>
                </a:solidFill>
              </a:rPr>
              <a:t>sobald Personen oder Teile des menschlichen Körpers detektiert </a:t>
            </a:r>
            <a:r>
              <a:rPr lang="de-CH" sz="1800" dirty="0">
                <a:solidFill>
                  <a:schemeClr val="tx1"/>
                </a:solidFill>
              </a:rPr>
              <a:t>werden.</a:t>
            </a:r>
          </a:p>
          <a:p>
            <a:pPr marL="789498" lvl="1" indent="-285750">
              <a:spcBef>
                <a:spcPts val="300"/>
              </a:spcBef>
              <a:buFont typeface="Symbol" panose="05050102010706020507" pitchFamily="18" charset="2"/>
              <a:buChar char="-"/>
            </a:pPr>
            <a:r>
              <a:rPr lang="de-CH" sz="1800" b="1" dirty="0">
                <a:solidFill>
                  <a:schemeClr val="tx1"/>
                </a:solidFill>
              </a:rPr>
              <a:t>Schutzeinrichtungen, die in die Steuerung der Maschine eingebunden sind</a:t>
            </a:r>
            <a:r>
              <a:rPr lang="de-CH" sz="1800" dirty="0">
                <a:solidFill>
                  <a:schemeClr val="tx1"/>
                </a:solidFill>
              </a:rPr>
              <a:t>, um den sicheren Zustand einzuleiten, </a:t>
            </a:r>
            <a:r>
              <a:rPr lang="de-CH" sz="1800" b="1" dirty="0">
                <a:solidFill>
                  <a:schemeClr val="tx1"/>
                </a:solidFill>
              </a:rPr>
              <a:t>sobald die überwachten sicherheitsbezogenen Grenzen von Parametern der Maschine </a:t>
            </a:r>
            <a:r>
              <a:rPr lang="de-CH" sz="1800" dirty="0">
                <a:solidFill>
                  <a:schemeClr val="tx1"/>
                </a:solidFill>
              </a:rPr>
              <a:t>(Position, Geschwindigkeit, Kraft etc.) </a:t>
            </a:r>
            <a:r>
              <a:rPr lang="de-CH" sz="1800" b="1" dirty="0">
                <a:solidFill>
                  <a:schemeClr val="tx1"/>
                </a:solidFill>
              </a:rPr>
              <a:t>überschritten werden</a:t>
            </a:r>
            <a:r>
              <a:rPr lang="de-CH" sz="1800" dirty="0">
                <a:solidFill>
                  <a:schemeClr val="tx1"/>
                </a:solidFill>
              </a:rPr>
              <a:t>.</a:t>
            </a:r>
          </a:p>
          <a:p>
            <a:pPr marL="285750" indent="-285750">
              <a:spcBef>
                <a:spcPts val="300"/>
              </a:spcBef>
              <a:buFont typeface="Arial" panose="020B0604020202020204" pitchFamily="34" charset="0"/>
              <a:buChar char="•"/>
            </a:pPr>
            <a:r>
              <a:rPr lang="de-CH" sz="1800" dirty="0"/>
              <a:t>Wenn Schutzeinrichtungen in die Steuerung der Maschine eingebunden werden, hängt die Risikominderung von der korrekten Funktion der Steuerung ab. In diesem Fall spricht man von </a:t>
            </a:r>
            <a:r>
              <a:rPr lang="de-CH" sz="1800" b="1" dirty="0"/>
              <a:t>funktionaler Sicherheit</a:t>
            </a:r>
            <a:r>
              <a:rPr lang="de-CH" sz="1800" dirty="0"/>
              <a:t>.</a:t>
            </a:r>
          </a:p>
          <a:p>
            <a:pPr marL="285750" indent="-285750">
              <a:spcBef>
                <a:spcPts val="300"/>
              </a:spcBef>
              <a:buFont typeface="Arial" panose="020B0604020202020204" pitchFamily="34" charset="0"/>
              <a:buChar char="•"/>
            </a:pPr>
            <a:r>
              <a:rPr lang="de-CH" sz="1800" dirty="0"/>
              <a:t>Für die Realisierung der funktionalen Sicherheit muss </a:t>
            </a:r>
            <a:r>
              <a:rPr lang="de-CH" sz="1800" b="1" dirty="0"/>
              <a:t>für jede Sicherheitsfunktion </a:t>
            </a:r>
            <a:r>
              <a:rPr lang="de-CH" sz="1800" dirty="0"/>
              <a:t>das erforderliche </a:t>
            </a:r>
            <a:r>
              <a:rPr lang="de-CH" sz="1800" b="1" dirty="0"/>
              <a:t>Sicherheitsniveau bestimmt </a:t>
            </a:r>
            <a:r>
              <a:rPr lang="de-CH" sz="1800" dirty="0"/>
              <a:t>werden. Die Anforderungen der jeweiligen Schutzmaßnahme müssen mit geeigneten Komponenten umgesetzt werden.</a:t>
            </a:r>
          </a:p>
          <a:p>
            <a:pPr marL="285750" indent="-285750">
              <a:spcBef>
                <a:spcPts val="300"/>
              </a:spcBef>
              <a:buFont typeface="Arial" panose="020B0604020202020204" pitchFamily="34" charset="0"/>
              <a:buChar char="•"/>
            </a:pPr>
            <a:r>
              <a:rPr lang="de-CH" sz="1800" dirty="0"/>
              <a:t>Die </a:t>
            </a:r>
            <a:r>
              <a:rPr lang="de-CH" sz="1800" b="1" dirty="0"/>
              <a:t>Validierung</a:t>
            </a:r>
            <a:r>
              <a:rPr lang="de-CH" sz="1800" dirty="0"/>
              <a:t> aller technischen Schutzmaßnahmen stellt sicher, dass die richtigen Sicherheitsfunktionen zuverlässig die Risiken mindern</a:t>
            </a:r>
          </a:p>
          <a:p>
            <a:endParaRPr lang="de-CH" sz="1800" dirty="0"/>
          </a:p>
        </p:txBody>
      </p:sp>
      <p:sp>
        <p:nvSpPr>
          <p:cNvPr id="3" name="Titel 2">
            <a:extLst>
              <a:ext uri="{FF2B5EF4-FFF2-40B4-BE49-F238E27FC236}">
                <a16:creationId xmlns:a16="http://schemas.microsoft.com/office/drawing/2014/main" id="{A5D1ADBD-BEB5-E7DF-770C-130614EC3AC6}"/>
              </a:ext>
            </a:extLst>
          </p:cNvPr>
          <p:cNvSpPr>
            <a:spLocks noGrp="1"/>
          </p:cNvSpPr>
          <p:nvPr>
            <p:ph type="title"/>
          </p:nvPr>
        </p:nvSpPr>
        <p:spPr/>
        <p:txBody>
          <a:bodyPr>
            <a:normAutofit fontScale="90000"/>
          </a:bodyPr>
          <a:lstStyle/>
          <a:p>
            <a:r>
              <a:rPr lang="de-CH" dirty="0"/>
              <a:t>Technische Schutzmaßnahmen</a:t>
            </a:r>
          </a:p>
        </p:txBody>
      </p:sp>
      <p:sp>
        <p:nvSpPr>
          <p:cNvPr id="4" name="Fußzeilenplatzhalter 3">
            <a:extLst>
              <a:ext uri="{FF2B5EF4-FFF2-40B4-BE49-F238E27FC236}">
                <a16:creationId xmlns:a16="http://schemas.microsoft.com/office/drawing/2014/main" id="{5ED5465D-9538-8820-407C-D10DE1C7264D}"/>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65C2443F-1FAB-FD6C-A82E-4430897A9C75}"/>
              </a:ext>
            </a:extLst>
          </p:cNvPr>
          <p:cNvSpPr>
            <a:spLocks noGrp="1"/>
          </p:cNvSpPr>
          <p:nvPr>
            <p:ph type="sldNum" sz="quarter" idx="16"/>
          </p:nvPr>
        </p:nvSpPr>
        <p:spPr/>
        <p:txBody>
          <a:bodyPr/>
          <a:lstStyle/>
          <a:p>
            <a:fld id="{61F2C2C2-1EE4-4D60-B09F-2141F977BFAA}" type="slidenum">
              <a:rPr lang="de-DE" altLang="de-DE" smtClean="0"/>
              <a:pPr/>
              <a:t>22</a:t>
            </a:fld>
            <a:endParaRPr lang="de-DE" altLang="de-DE"/>
          </a:p>
        </p:txBody>
      </p:sp>
    </p:spTree>
    <p:extLst>
      <p:ext uri="{BB962C8B-B14F-4D97-AF65-F5344CB8AC3E}">
        <p14:creationId xmlns:p14="http://schemas.microsoft.com/office/powerpoint/2010/main" val="310125483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51455FB-B7F8-626E-E8EA-1C3F3E189DC0}"/>
              </a:ext>
            </a:extLst>
          </p:cNvPr>
          <p:cNvSpPr>
            <a:spLocks noGrp="1"/>
          </p:cNvSpPr>
          <p:nvPr>
            <p:ph idx="1"/>
          </p:nvPr>
        </p:nvSpPr>
        <p:spPr>
          <a:xfrm>
            <a:off x="624418" y="1296985"/>
            <a:ext cx="7737529" cy="4832352"/>
          </a:xfrm>
        </p:spPr>
        <p:txBody>
          <a:bodyPr/>
          <a:lstStyle/>
          <a:p>
            <a:r>
              <a:rPr lang="de-CH" dirty="0"/>
              <a:t>Festlegen der Sicherheitsfunktionen</a:t>
            </a:r>
          </a:p>
          <a:p>
            <a:pPr marL="285750" indent="-285750">
              <a:buFont typeface="Wingdings" panose="05000000000000000000" pitchFamily="2" charset="2"/>
              <a:buChar char="§"/>
            </a:pPr>
            <a:r>
              <a:rPr lang="de-CH" dirty="0"/>
              <a:t>Die Sicherheitsfunktionen beschreiben, wie das Risiko durch sicherheitstechnische Maßnahmen gemindert werden soll. </a:t>
            </a:r>
          </a:p>
          <a:p>
            <a:pPr marL="285750" indent="-285750">
              <a:buFont typeface="Wingdings" panose="05000000000000000000" pitchFamily="2" charset="2"/>
              <a:buChar char="§"/>
            </a:pPr>
            <a:r>
              <a:rPr lang="de-CH" dirty="0"/>
              <a:t>Für jede Gefährdung, die konstruktiv nicht beseitigt wurde, ist mindestens eine Sicherheitsfunktion zu definieren. </a:t>
            </a:r>
          </a:p>
          <a:p>
            <a:pPr marL="285750" indent="-285750">
              <a:buFont typeface="Wingdings" panose="05000000000000000000" pitchFamily="2" charset="2"/>
              <a:buChar char="§"/>
            </a:pPr>
            <a:r>
              <a:rPr lang="de-CH" dirty="0"/>
              <a:t>Die genaue Definition der Sicherheitsfunktionen ist notwendig, um die erforderliche Sicherheit mit angemessenem Aufwand zu erzielen.</a:t>
            </a:r>
          </a:p>
          <a:p>
            <a:pPr marL="285750" indent="-285750">
              <a:buFont typeface="Wingdings" panose="05000000000000000000" pitchFamily="2" charset="2"/>
              <a:buChar char="§"/>
            </a:pPr>
            <a:r>
              <a:rPr lang="de-CH" dirty="0"/>
              <a:t> Aus der Definition der Sicherheitsfunktionen leitet sich die dafür notwendige Art und Anzahl der Komponenten ab.</a:t>
            </a:r>
          </a:p>
          <a:p>
            <a:endParaRPr lang="de-CH" dirty="0"/>
          </a:p>
        </p:txBody>
      </p:sp>
      <p:sp>
        <p:nvSpPr>
          <p:cNvPr id="3" name="Titel 2">
            <a:extLst>
              <a:ext uri="{FF2B5EF4-FFF2-40B4-BE49-F238E27FC236}">
                <a16:creationId xmlns:a16="http://schemas.microsoft.com/office/drawing/2014/main" id="{FF51578D-9CB1-9B4B-5438-AEFE2F33C18E}"/>
              </a:ext>
            </a:extLst>
          </p:cNvPr>
          <p:cNvSpPr>
            <a:spLocks noGrp="1"/>
          </p:cNvSpPr>
          <p:nvPr>
            <p:ph type="title"/>
          </p:nvPr>
        </p:nvSpPr>
        <p:spPr/>
        <p:txBody>
          <a:bodyPr>
            <a:normAutofit fontScale="90000"/>
          </a:bodyPr>
          <a:lstStyle/>
          <a:p>
            <a:r>
              <a:rPr lang="de-CH" dirty="0"/>
              <a:t>Von der Festlegung bis zu Validierung der Sicherheitsfunktionen</a:t>
            </a:r>
          </a:p>
        </p:txBody>
      </p:sp>
      <p:sp>
        <p:nvSpPr>
          <p:cNvPr id="4" name="Fußzeilenplatzhalter 3">
            <a:extLst>
              <a:ext uri="{FF2B5EF4-FFF2-40B4-BE49-F238E27FC236}">
                <a16:creationId xmlns:a16="http://schemas.microsoft.com/office/drawing/2014/main" id="{8AA34F37-56D3-F512-6365-79CD06BAAC3F}"/>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5260133D-BD24-621E-4053-5B0DA779318B}"/>
              </a:ext>
            </a:extLst>
          </p:cNvPr>
          <p:cNvSpPr>
            <a:spLocks noGrp="1"/>
          </p:cNvSpPr>
          <p:nvPr>
            <p:ph type="sldNum" sz="quarter" idx="16"/>
          </p:nvPr>
        </p:nvSpPr>
        <p:spPr/>
        <p:txBody>
          <a:bodyPr/>
          <a:lstStyle/>
          <a:p>
            <a:fld id="{61F2C2C2-1EE4-4D60-B09F-2141F977BFAA}" type="slidenum">
              <a:rPr lang="de-DE" altLang="de-DE" smtClean="0"/>
              <a:pPr/>
              <a:t>23</a:t>
            </a:fld>
            <a:endParaRPr lang="de-DE" altLang="de-DE"/>
          </a:p>
        </p:txBody>
      </p:sp>
      <p:pic>
        <p:nvPicPr>
          <p:cNvPr id="6" name="Grafik 5">
            <a:extLst>
              <a:ext uri="{FF2B5EF4-FFF2-40B4-BE49-F238E27FC236}">
                <a16:creationId xmlns:a16="http://schemas.microsoft.com/office/drawing/2014/main" id="{110BB298-02AB-D8C1-072E-CB3390FA9049}"/>
              </a:ext>
            </a:extLst>
          </p:cNvPr>
          <p:cNvPicPr>
            <a:picLocks noChangeAspect="1"/>
          </p:cNvPicPr>
          <p:nvPr/>
        </p:nvPicPr>
        <p:blipFill>
          <a:blip r:embed="rId2"/>
          <a:stretch>
            <a:fillRect/>
          </a:stretch>
        </p:blipFill>
        <p:spPr>
          <a:xfrm>
            <a:off x="8256895" y="464999"/>
            <a:ext cx="3935106" cy="6308779"/>
          </a:xfrm>
          <a:prstGeom prst="rect">
            <a:avLst/>
          </a:prstGeom>
        </p:spPr>
      </p:pic>
    </p:spTree>
    <p:extLst>
      <p:ext uri="{BB962C8B-B14F-4D97-AF65-F5344CB8AC3E}">
        <p14:creationId xmlns:p14="http://schemas.microsoft.com/office/powerpoint/2010/main" val="106265944"/>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normAutofit fontScale="90000"/>
          </a:bodyPr>
          <a:lstStyle/>
          <a:p>
            <a:pPr eaLnBrk="1" hangingPunct="1"/>
            <a:r>
              <a:rPr lang="de-DE" altLang="de-DE"/>
              <a:t>Einteilung der ergänzenden Schutzeinrichtungen</a:t>
            </a:r>
          </a:p>
        </p:txBody>
      </p:sp>
      <p:sp>
        <p:nvSpPr>
          <p:cNvPr id="36" name="Textfeld 35"/>
          <p:cNvSpPr txBox="1"/>
          <p:nvPr/>
        </p:nvSpPr>
        <p:spPr>
          <a:xfrm>
            <a:off x="9973270" y="6416126"/>
            <a:ext cx="975718" cy="230832"/>
          </a:xfrm>
          <a:prstGeom prst="rect">
            <a:avLst/>
          </a:prstGeom>
          <a:noFill/>
        </p:spPr>
        <p:txBody>
          <a:bodyPr wrap="square" rtlCol="0">
            <a:spAutoFit/>
          </a:bodyPr>
          <a:lstStyle/>
          <a:p>
            <a:r>
              <a:rPr lang="de-DE" sz="900" dirty="0"/>
              <a:t>Bild: Sick</a:t>
            </a:r>
          </a:p>
        </p:txBody>
      </p:sp>
      <p:sp>
        <p:nvSpPr>
          <p:cNvPr id="3" name="Fußzeilenplatzhalter 2"/>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4" name="Foliennummernplatzhalter 3"/>
          <p:cNvSpPr>
            <a:spLocks noGrp="1"/>
          </p:cNvSpPr>
          <p:nvPr>
            <p:ph type="sldNum" sz="quarter" idx="16"/>
          </p:nvPr>
        </p:nvSpPr>
        <p:spPr/>
        <p:txBody>
          <a:bodyPr/>
          <a:lstStyle/>
          <a:p>
            <a:fld id="{61F2C2C2-1EE4-4D60-B09F-2141F977BFAA}" type="slidenum">
              <a:rPr lang="de-DE" altLang="de-DE" smtClean="0"/>
              <a:pPr/>
              <a:t>24</a:t>
            </a:fld>
            <a:endParaRPr lang="de-DE" altLang="de-DE"/>
          </a:p>
        </p:txBody>
      </p:sp>
      <p:grpSp>
        <p:nvGrpSpPr>
          <p:cNvPr id="40" name="Group 26"/>
          <p:cNvGrpSpPr>
            <a:grpSpLocks/>
          </p:cNvGrpSpPr>
          <p:nvPr/>
        </p:nvGrpSpPr>
        <p:grpSpPr bwMode="auto">
          <a:xfrm>
            <a:off x="711729" y="1113528"/>
            <a:ext cx="9326563" cy="2406650"/>
            <a:chOff x="230" y="643"/>
            <a:chExt cx="5875" cy="1516"/>
          </a:xfrm>
        </p:grpSpPr>
        <p:sp>
          <p:nvSpPr>
            <p:cNvPr id="41" name="Text Box 4"/>
            <p:cNvSpPr txBox="1">
              <a:spLocks noChangeArrowheads="1"/>
            </p:cNvSpPr>
            <p:nvPr/>
          </p:nvSpPr>
          <p:spPr bwMode="auto">
            <a:xfrm>
              <a:off x="2066" y="643"/>
              <a:ext cx="1967" cy="291"/>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2400" b="0" i="0" u="none" strike="noStrike" kern="0" cap="none" spc="0" normalizeH="0" baseline="0" noProof="0" dirty="0">
                  <a:ln>
                    <a:noFill/>
                  </a:ln>
                  <a:solidFill>
                    <a:srgbClr val="000000"/>
                  </a:solidFill>
                  <a:effectLst/>
                  <a:uLnTx/>
                  <a:uFillTx/>
                  <a:latin typeface="+mj-lt"/>
                </a:rPr>
                <a:t>Schutzeinrichtungen</a:t>
              </a:r>
            </a:p>
          </p:txBody>
        </p:sp>
        <p:sp>
          <p:nvSpPr>
            <p:cNvPr id="42" name="Text Box 5"/>
            <p:cNvSpPr txBox="1">
              <a:spLocks noChangeArrowheads="1"/>
            </p:cNvSpPr>
            <p:nvPr/>
          </p:nvSpPr>
          <p:spPr bwMode="auto">
            <a:xfrm>
              <a:off x="672" y="1313"/>
              <a:ext cx="754" cy="257"/>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2000" b="0" i="0" u="none" strike="noStrike" kern="0" cap="none" spc="0" normalizeH="0" baseline="0" noProof="0" dirty="0">
                  <a:ln>
                    <a:noFill/>
                  </a:ln>
                  <a:solidFill>
                    <a:srgbClr val="000000"/>
                  </a:solidFill>
                  <a:effectLst/>
                  <a:uLnTx/>
                  <a:uFillTx/>
                  <a:latin typeface="+mj-lt"/>
                </a:rPr>
                <a:t>trennend</a:t>
              </a:r>
            </a:p>
          </p:txBody>
        </p:sp>
        <p:sp>
          <p:nvSpPr>
            <p:cNvPr id="43" name="Text Box 6"/>
            <p:cNvSpPr txBox="1">
              <a:spLocks noChangeArrowheads="1"/>
            </p:cNvSpPr>
            <p:nvPr/>
          </p:nvSpPr>
          <p:spPr bwMode="auto">
            <a:xfrm>
              <a:off x="3154" y="1313"/>
              <a:ext cx="1145" cy="257"/>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2000" b="0" i="0" u="none" strike="noStrike" kern="0" cap="none" spc="0" normalizeH="0" baseline="0" noProof="0">
                  <a:ln>
                    <a:noFill/>
                  </a:ln>
                  <a:solidFill>
                    <a:srgbClr val="000000"/>
                  </a:solidFill>
                  <a:effectLst/>
                  <a:uLnTx/>
                  <a:uFillTx/>
                  <a:latin typeface="+mj-lt"/>
                </a:rPr>
                <a:t>nicht-trennend</a:t>
              </a:r>
            </a:p>
          </p:txBody>
        </p:sp>
        <p:sp>
          <p:nvSpPr>
            <p:cNvPr id="44" name="Text Box 7"/>
            <p:cNvSpPr txBox="1">
              <a:spLocks noChangeArrowheads="1"/>
            </p:cNvSpPr>
            <p:nvPr/>
          </p:nvSpPr>
          <p:spPr bwMode="auto">
            <a:xfrm>
              <a:off x="230" y="1866"/>
              <a:ext cx="740" cy="213"/>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feststehend</a:t>
              </a:r>
            </a:p>
          </p:txBody>
        </p:sp>
        <p:sp>
          <p:nvSpPr>
            <p:cNvPr id="45" name="Text Box 8"/>
            <p:cNvSpPr txBox="1">
              <a:spLocks noChangeArrowheads="1"/>
            </p:cNvSpPr>
            <p:nvPr/>
          </p:nvSpPr>
          <p:spPr bwMode="auto">
            <a:xfrm>
              <a:off x="1128" y="1866"/>
              <a:ext cx="647" cy="213"/>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beweglich</a:t>
              </a:r>
            </a:p>
          </p:txBody>
        </p:sp>
        <p:sp>
          <p:nvSpPr>
            <p:cNvPr id="46" name="Text Box 9"/>
            <p:cNvSpPr txBox="1">
              <a:spLocks noChangeArrowheads="1"/>
            </p:cNvSpPr>
            <p:nvPr/>
          </p:nvSpPr>
          <p:spPr bwMode="auto">
            <a:xfrm>
              <a:off x="1924" y="1866"/>
              <a:ext cx="675" cy="213"/>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berührend</a:t>
              </a:r>
            </a:p>
          </p:txBody>
        </p:sp>
        <p:sp>
          <p:nvSpPr>
            <p:cNvPr id="47" name="Text Box 10"/>
            <p:cNvSpPr txBox="1">
              <a:spLocks noChangeArrowheads="1"/>
            </p:cNvSpPr>
            <p:nvPr/>
          </p:nvSpPr>
          <p:spPr bwMode="auto">
            <a:xfrm>
              <a:off x="2760" y="1866"/>
              <a:ext cx="870" cy="213"/>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berührungslos</a:t>
              </a:r>
            </a:p>
          </p:txBody>
        </p:sp>
        <p:sp>
          <p:nvSpPr>
            <p:cNvPr id="48" name="Text Box 12"/>
            <p:cNvSpPr txBox="1">
              <a:spLocks noChangeArrowheads="1"/>
            </p:cNvSpPr>
            <p:nvPr/>
          </p:nvSpPr>
          <p:spPr bwMode="auto">
            <a:xfrm>
              <a:off x="3775" y="1786"/>
              <a:ext cx="1112" cy="373"/>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mit Ortsbindung</a:t>
              </a:r>
            </a:p>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a:ln>
                    <a:noFill/>
                  </a:ln>
                  <a:solidFill>
                    <a:srgbClr val="000000"/>
                  </a:solidFill>
                  <a:effectLst/>
                  <a:uLnTx/>
                  <a:uFillTx/>
                  <a:latin typeface="+mj-lt"/>
                </a:rPr>
                <a:t>für Normalbetrieb</a:t>
              </a:r>
            </a:p>
          </p:txBody>
        </p:sp>
        <p:sp>
          <p:nvSpPr>
            <p:cNvPr id="49" name="Text Box 13"/>
            <p:cNvSpPr txBox="1">
              <a:spLocks noChangeArrowheads="1"/>
            </p:cNvSpPr>
            <p:nvPr/>
          </p:nvSpPr>
          <p:spPr bwMode="auto">
            <a:xfrm>
              <a:off x="5037" y="1788"/>
              <a:ext cx="1068" cy="368"/>
            </a:xfrm>
            <a:prstGeom prst="rect">
              <a:avLst/>
            </a:prstGeom>
            <a:noFill/>
            <a:ln w="1079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ohne Ortsbindung</a:t>
              </a:r>
            </a:p>
            <a:p>
              <a:pPr marL="0" marR="0" lvl="0" indent="0" algn="ctr"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für Sonderbetrieb</a:t>
              </a:r>
            </a:p>
          </p:txBody>
        </p:sp>
        <p:cxnSp>
          <p:nvCxnSpPr>
            <p:cNvPr id="50" name="AutoShape 16"/>
            <p:cNvCxnSpPr>
              <a:cxnSpLocks noChangeShapeType="1"/>
              <a:stCxn id="42" idx="2"/>
              <a:endCxn id="44" idx="0"/>
            </p:cNvCxnSpPr>
            <p:nvPr/>
          </p:nvCxnSpPr>
          <p:spPr bwMode="auto">
            <a:xfrm rot="5400000">
              <a:off x="677" y="1494"/>
              <a:ext cx="296" cy="449"/>
            </a:xfrm>
            <a:prstGeom prst="bentConnector3">
              <a:avLst>
                <a:gd name="adj1" fmla="val 50000"/>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AutoShape 17"/>
            <p:cNvCxnSpPr>
              <a:cxnSpLocks noChangeShapeType="1"/>
              <a:stCxn id="42" idx="2"/>
              <a:endCxn id="45" idx="0"/>
            </p:cNvCxnSpPr>
            <p:nvPr/>
          </p:nvCxnSpPr>
          <p:spPr bwMode="auto">
            <a:xfrm rot="16200000" flipH="1">
              <a:off x="1102" y="1517"/>
              <a:ext cx="296" cy="403"/>
            </a:xfrm>
            <a:prstGeom prst="bentConnector3">
              <a:avLst>
                <a:gd name="adj1" fmla="val 50000"/>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AutoShape 18"/>
            <p:cNvCxnSpPr>
              <a:cxnSpLocks noChangeShapeType="1"/>
              <a:stCxn id="43" idx="2"/>
              <a:endCxn id="46" idx="0"/>
            </p:cNvCxnSpPr>
            <p:nvPr/>
          </p:nvCxnSpPr>
          <p:spPr bwMode="auto">
            <a:xfrm rot="5400000">
              <a:off x="2846" y="986"/>
              <a:ext cx="296" cy="1465"/>
            </a:xfrm>
            <a:prstGeom prst="bentConnector3">
              <a:avLst>
                <a:gd name="adj1" fmla="val 36824"/>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AutoShape 19"/>
            <p:cNvCxnSpPr>
              <a:cxnSpLocks noChangeShapeType="1"/>
              <a:stCxn id="43" idx="2"/>
              <a:endCxn id="47" idx="0"/>
            </p:cNvCxnSpPr>
            <p:nvPr/>
          </p:nvCxnSpPr>
          <p:spPr bwMode="auto">
            <a:xfrm rot="5400000">
              <a:off x="3313" y="1452"/>
              <a:ext cx="296" cy="531"/>
            </a:xfrm>
            <a:prstGeom prst="bentConnector3">
              <a:avLst>
                <a:gd name="adj1" fmla="val 35810"/>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AutoShape 20"/>
            <p:cNvCxnSpPr>
              <a:cxnSpLocks noChangeShapeType="1"/>
              <a:stCxn id="43" idx="2"/>
              <a:endCxn id="48" idx="0"/>
            </p:cNvCxnSpPr>
            <p:nvPr/>
          </p:nvCxnSpPr>
          <p:spPr bwMode="auto">
            <a:xfrm rot="16200000" flipH="1">
              <a:off x="3921" y="1376"/>
              <a:ext cx="216" cy="605"/>
            </a:xfrm>
            <a:prstGeom prst="bentConnector3">
              <a:avLst>
                <a:gd name="adj1" fmla="val 49074"/>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AutoShape 21"/>
            <p:cNvCxnSpPr>
              <a:cxnSpLocks noChangeShapeType="1"/>
              <a:stCxn id="43" idx="2"/>
              <a:endCxn id="49" idx="0"/>
            </p:cNvCxnSpPr>
            <p:nvPr/>
          </p:nvCxnSpPr>
          <p:spPr bwMode="auto">
            <a:xfrm rot="16200000" flipH="1">
              <a:off x="4540" y="757"/>
              <a:ext cx="218" cy="1845"/>
            </a:xfrm>
            <a:prstGeom prst="bentConnector3">
              <a:avLst>
                <a:gd name="adj1" fmla="val 50000"/>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AutoShape 22"/>
            <p:cNvCxnSpPr>
              <a:cxnSpLocks noChangeShapeType="1"/>
              <a:stCxn id="41" idx="2"/>
              <a:endCxn id="42" idx="0"/>
            </p:cNvCxnSpPr>
            <p:nvPr/>
          </p:nvCxnSpPr>
          <p:spPr bwMode="auto">
            <a:xfrm rot="5400000">
              <a:off x="1860" y="123"/>
              <a:ext cx="379" cy="2001"/>
            </a:xfrm>
            <a:prstGeom prst="bentConnector3">
              <a:avLst>
                <a:gd name="adj1" fmla="val 50000"/>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AutoShape 23"/>
            <p:cNvCxnSpPr>
              <a:cxnSpLocks noChangeShapeType="1"/>
              <a:stCxn id="41" idx="2"/>
              <a:endCxn id="43" idx="0"/>
            </p:cNvCxnSpPr>
            <p:nvPr/>
          </p:nvCxnSpPr>
          <p:spPr bwMode="auto">
            <a:xfrm rot="16200000" flipH="1">
              <a:off x="3199" y="785"/>
              <a:ext cx="379" cy="676"/>
            </a:xfrm>
            <a:prstGeom prst="bentConnector3">
              <a:avLst>
                <a:gd name="adj1" fmla="val 50000"/>
              </a:avLst>
            </a:prstGeom>
            <a:noFill/>
            <a:ln w="1079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8" name="Picture 2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4417" y="3907528"/>
            <a:ext cx="1833562"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30"/>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94529" y="3907528"/>
            <a:ext cx="1716088"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32"/>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53467" y="3815453"/>
            <a:ext cx="862012" cy="184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3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429779" y="4050403"/>
            <a:ext cx="563563" cy="77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34"/>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315479" y="4985440"/>
            <a:ext cx="365125" cy="5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3" name="Group 39"/>
          <p:cNvGrpSpPr>
            <a:grpSpLocks/>
          </p:cNvGrpSpPr>
          <p:nvPr/>
        </p:nvGrpSpPr>
        <p:grpSpPr bwMode="auto">
          <a:xfrm>
            <a:off x="8455554" y="3680515"/>
            <a:ext cx="1697038" cy="2151063"/>
            <a:chOff x="5108" y="2260"/>
            <a:chExt cx="1069" cy="1355"/>
          </a:xfrm>
        </p:grpSpPr>
        <p:pic>
          <p:nvPicPr>
            <p:cNvPr id="64" name="Picture 38"/>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72" y="2260"/>
              <a:ext cx="405" cy="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37"/>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108" y="2600"/>
              <a:ext cx="1015" cy="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6" name="Group 42"/>
          <p:cNvGrpSpPr>
            <a:grpSpLocks/>
          </p:cNvGrpSpPr>
          <p:nvPr/>
        </p:nvGrpSpPr>
        <p:grpSpPr bwMode="auto">
          <a:xfrm>
            <a:off x="655372" y="3479697"/>
            <a:ext cx="9142413" cy="461963"/>
            <a:chOff x="150" y="2144"/>
            <a:chExt cx="5759" cy="291"/>
          </a:xfrm>
        </p:grpSpPr>
        <p:sp>
          <p:nvSpPr>
            <p:cNvPr id="67" name="Text Box 29"/>
            <p:cNvSpPr txBox="1">
              <a:spLocks noChangeArrowheads="1"/>
            </p:cNvSpPr>
            <p:nvPr/>
          </p:nvSpPr>
          <p:spPr bwMode="auto">
            <a:xfrm>
              <a:off x="150" y="2144"/>
              <a:ext cx="1434"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200" b="0" i="0" u="none" strike="noStrike" kern="0" cap="none" spc="0" normalizeH="0" baseline="0" noProof="0">
                  <a:ln>
                    <a:noFill/>
                  </a:ln>
                  <a:solidFill>
                    <a:srgbClr val="000000"/>
                  </a:solidFill>
                  <a:effectLst/>
                  <a:uLnTx/>
                  <a:uFillTx/>
                  <a:latin typeface="+mj-lt"/>
                </a:rPr>
                <a:t>z.B. Schutzzaun        z.B. Schutztür</a:t>
              </a:r>
            </a:p>
          </p:txBody>
        </p:sp>
        <p:sp>
          <p:nvSpPr>
            <p:cNvPr id="68" name="Text Box 31"/>
            <p:cNvSpPr txBox="1">
              <a:spLocks noChangeArrowheads="1"/>
            </p:cNvSpPr>
            <p:nvPr/>
          </p:nvSpPr>
          <p:spPr bwMode="auto">
            <a:xfrm>
              <a:off x="1736" y="2144"/>
              <a:ext cx="904"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200" b="0" i="0" u="none" strike="noStrike" kern="0" cap="none" spc="0" normalizeH="0" baseline="0" noProof="0">
                  <a:ln>
                    <a:noFill/>
                  </a:ln>
                  <a:solidFill>
                    <a:srgbClr val="000000"/>
                  </a:solidFill>
                  <a:effectLst/>
                  <a:uLnTx/>
                  <a:uFillTx/>
                  <a:latin typeface="+mj-lt"/>
                </a:rPr>
                <a:t>z.B. Gummidämpfer</a:t>
              </a:r>
            </a:p>
          </p:txBody>
        </p:sp>
        <p:sp>
          <p:nvSpPr>
            <p:cNvPr id="69" name="Text Box 36"/>
            <p:cNvSpPr txBox="1">
              <a:spLocks noChangeArrowheads="1"/>
            </p:cNvSpPr>
            <p:nvPr/>
          </p:nvSpPr>
          <p:spPr bwMode="auto">
            <a:xfrm>
              <a:off x="2699" y="2144"/>
              <a:ext cx="893"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200" b="0" i="0" u="none" strike="noStrike" kern="0" cap="none" spc="0" normalizeH="0" baseline="0" noProof="0">
                  <a:ln>
                    <a:noFill/>
                  </a:ln>
                  <a:solidFill>
                    <a:srgbClr val="000000"/>
                  </a:solidFill>
                  <a:effectLst/>
                  <a:uLnTx/>
                  <a:uFillTx/>
                  <a:latin typeface="+mj-lt"/>
                </a:rPr>
                <a:t>z.B. Lichtschranken,</a:t>
              </a:r>
            </a:p>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200" b="0" i="0" u="none" strike="noStrike" kern="0" cap="none" spc="0" normalizeH="0" baseline="0" noProof="0">
                  <a:ln>
                    <a:noFill/>
                  </a:ln>
                  <a:solidFill>
                    <a:srgbClr val="000000"/>
                  </a:solidFill>
                  <a:effectLst/>
                  <a:uLnTx/>
                  <a:uFillTx/>
                  <a:latin typeface="+mj-lt"/>
                </a:rPr>
                <a:t>Laserscanner</a:t>
              </a:r>
            </a:p>
          </p:txBody>
        </p:sp>
        <p:sp>
          <p:nvSpPr>
            <p:cNvPr id="70" name="Text Box 40"/>
            <p:cNvSpPr txBox="1">
              <a:spLocks noChangeArrowheads="1"/>
            </p:cNvSpPr>
            <p:nvPr/>
          </p:nvSpPr>
          <p:spPr bwMode="auto">
            <a:xfrm>
              <a:off x="3748" y="2144"/>
              <a:ext cx="975"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200" b="0" i="0" u="none" strike="noStrike" kern="0" cap="none" spc="0" normalizeH="0" baseline="0" noProof="0" dirty="0">
                  <a:ln>
                    <a:noFill/>
                  </a:ln>
                  <a:solidFill>
                    <a:srgbClr val="000000"/>
                  </a:solidFill>
                  <a:effectLst/>
                  <a:uLnTx/>
                  <a:uFillTx/>
                  <a:latin typeface="+mj-lt"/>
                </a:rPr>
                <a:t>z.B. Zweihandschalter</a:t>
              </a:r>
            </a:p>
          </p:txBody>
        </p:sp>
        <p:sp>
          <p:nvSpPr>
            <p:cNvPr id="71" name="Text Box 41"/>
            <p:cNvSpPr txBox="1">
              <a:spLocks noChangeArrowheads="1"/>
            </p:cNvSpPr>
            <p:nvPr/>
          </p:nvSpPr>
          <p:spPr bwMode="auto">
            <a:xfrm>
              <a:off x="4974" y="2144"/>
              <a:ext cx="935"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200" b="0" i="0" u="none" strike="noStrike" kern="0" cap="none" spc="0" normalizeH="0" baseline="0" noProof="0" dirty="0">
                  <a:ln>
                    <a:noFill/>
                  </a:ln>
                  <a:solidFill>
                    <a:srgbClr val="000000"/>
                  </a:solidFill>
                  <a:effectLst/>
                  <a:uLnTx/>
                  <a:uFillTx/>
                  <a:latin typeface="+mj-lt"/>
                </a:rPr>
                <a:t>z.B. </a:t>
              </a:r>
              <a:r>
                <a:rPr kumimoji="0" lang="de-DE" altLang="de-DE" sz="1200" b="0" i="0" u="none" strike="noStrike" kern="0" cap="none" spc="0" normalizeH="0" baseline="0" noProof="0" dirty="0" err="1">
                  <a:ln>
                    <a:noFill/>
                  </a:ln>
                  <a:solidFill>
                    <a:srgbClr val="000000"/>
                  </a:solidFill>
                  <a:effectLst/>
                  <a:uLnTx/>
                  <a:uFillTx/>
                  <a:latin typeface="+mj-lt"/>
                </a:rPr>
                <a:t>Zustimmschalter</a:t>
              </a:r>
              <a:endParaRPr kumimoji="0" lang="de-DE" altLang="de-DE" sz="1200" b="0" i="0" u="none" strike="noStrike" kern="0" cap="none" spc="0" normalizeH="0" baseline="0" noProof="0" dirty="0">
                <a:ln>
                  <a:noFill/>
                </a:ln>
                <a:solidFill>
                  <a:srgbClr val="000000"/>
                </a:solidFill>
                <a:effectLst/>
                <a:uLnTx/>
                <a:uFillTx/>
                <a:latin typeface="+mj-lt"/>
              </a:endParaRPr>
            </a:p>
          </p:txBody>
        </p:sp>
      </p:grpSp>
      <p:pic>
        <p:nvPicPr>
          <p:cNvPr id="72" name="Picture 4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339417" y="4002778"/>
            <a:ext cx="1860550" cy="180022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ustDataLst>
      <p:tags r:id="rId1"/>
    </p:custDataLst>
    <p:extLst>
      <p:ext uri="{BB962C8B-B14F-4D97-AF65-F5344CB8AC3E}">
        <p14:creationId xmlns:p14="http://schemas.microsoft.com/office/powerpoint/2010/main" val="2540657623"/>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normAutofit fontScale="90000"/>
          </a:bodyPr>
          <a:lstStyle/>
          <a:p>
            <a:r>
              <a:rPr lang="de-DE" altLang="de-DE" dirty="0"/>
              <a:t>Sicherheitseinrichtungen an einem Produktionssystem</a:t>
            </a:r>
          </a:p>
        </p:txBody>
      </p:sp>
      <p:sp>
        <p:nvSpPr>
          <p:cNvPr id="3" name="Fußzeilenplatzhalter 2"/>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4" name="Foliennummernplatzhalter 3"/>
          <p:cNvSpPr>
            <a:spLocks noGrp="1"/>
          </p:cNvSpPr>
          <p:nvPr>
            <p:ph type="sldNum" sz="quarter" idx="16"/>
          </p:nvPr>
        </p:nvSpPr>
        <p:spPr/>
        <p:txBody>
          <a:bodyPr/>
          <a:lstStyle/>
          <a:p>
            <a:fld id="{61F2C2C2-1EE4-4D60-B09F-2141F977BFAA}" type="slidenum">
              <a:rPr lang="de-DE" altLang="de-DE" smtClean="0"/>
              <a:pPr/>
              <a:t>25</a:t>
            </a:fld>
            <a:endParaRPr lang="de-DE" altLang="de-DE"/>
          </a:p>
        </p:txBody>
      </p:sp>
      <p:sp>
        <p:nvSpPr>
          <p:cNvPr id="31" name="Quelle"/>
          <p:cNvSpPr txBox="1">
            <a:spLocks noChangeArrowheads="1"/>
          </p:cNvSpPr>
          <p:nvPr/>
        </p:nvSpPr>
        <p:spPr bwMode="auto">
          <a:xfrm>
            <a:off x="10721682" y="5998956"/>
            <a:ext cx="9467850" cy="16158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lang="de-DE" altLang="de-DE" sz="750" dirty="0">
                <a:latin typeface="+mj-lt"/>
              </a:rPr>
              <a:t>Bild: Jakob </a:t>
            </a:r>
            <a:r>
              <a:rPr lang="de-DE" altLang="de-DE" sz="750" dirty="0" err="1">
                <a:latin typeface="+mj-lt"/>
              </a:rPr>
              <a:t>Safety</a:t>
            </a:r>
            <a:endParaRPr lang="de-DE" altLang="de-DE" sz="750" dirty="0">
              <a:latin typeface="+mj-lt"/>
            </a:endParaRPr>
          </a:p>
        </p:txBody>
      </p:sp>
      <p:grpSp>
        <p:nvGrpSpPr>
          <p:cNvPr id="32" name="Group 4"/>
          <p:cNvGrpSpPr>
            <a:grpSpLocks/>
          </p:cNvGrpSpPr>
          <p:nvPr/>
        </p:nvGrpSpPr>
        <p:grpSpPr bwMode="auto">
          <a:xfrm>
            <a:off x="534366" y="1134855"/>
            <a:ext cx="9683750" cy="5089526"/>
            <a:chOff x="178" y="502"/>
            <a:chExt cx="6100" cy="3206"/>
          </a:xfrm>
        </p:grpSpPr>
        <p:pic>
          <p:nvPicPr>
            <p:cNvPr id="33"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79" y="502"/>
              <a:ext cx="4976" cy="306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4" name="Text Box 6"/>
            <p:cNvSpPr txBox="1">
              <a:spLocks noChangeArrowheads="1"/>
            </p:cNvSpPr>
            <p:nvPr/>
          </p:nvSpPr>
          <p:spPr bwMode="auto">
            <a:xfrm>
              <a:off x="1112" y="1390"/>
              <a:ext cx="759"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Tür-Sensor</a:t>
              </a:r>
            </a:p>
          </p:txBody>
        </p:sp>
        <p:sp>
          <p:nvSpPr>
            <p:cNvPr id="35" name="Text Box 7"/>
            <p:cNvSpPr txBox="1">
              <a:spLocks noChangeArrowheads="1"/>
            </p:cNvSpPr>
            <p:nvPr/>
          </p:nvSpPr>
          <p:spPr bwMode="auto">
            <a:xfrm>
              <a:off x="1980" y="952"/>
              <a:ext cx="1146"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Not-Halt-Schalter</a:t>
              </a:r>
            </a:p>
          </p:txBody>
        </p:sp>
        <p:sp>
          <p:nvSpPr>
            <p:cNvPr id="36" name="Text Box 8"/>
            <p:cNvSpPr txBox="1">
              <a:spLocks noChangeArrowheads="1"/>
            </p:cNvSpPr>
            <p:nvPr/>
          </p:nvSpPr>
          <p:spPr bwMode="auto">
            <a:xfrm>
              <a:off x="2372" y="572"/>
              <a:ext cx="1918"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elektromagnetische Zuhaltung</a:t>
              </a:r>
            </a:p>
          </p:txBody>
        </p:sp>
        <p:sp>
          <p:nvSpPr>
            <p:cNvPr id="37" name="Text Box 9"/>
            <p:cNvSpPr txBox="1">
              <a:spLocks noChangeArrowheads="1"/>
            </p:cNvSpPr>
            <p:nvPr/>
          </p:nvSpPr>
          <p:spPr bwMode="auto">
            <a:xfrm>
              <a:off x="5388" y="551"/>
              <a:ext cx="823"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Zaunsystem</a:t>
              </a:r>
            </a:p>
          </p:txBody>
        </p:sp>
        <p:sp>
          <p:nvSpPr>
            <p:cNvPr id="38" name="Text Box 10"/>
            <p:cNvSpPr txBox="1">
              <a:spLocks noChangeArrowheads="1"/>
            </p:cNvSpPr>
            <p:nvPr/>
          </p:nvSpPr>
          <p:spPr bwMode="auto">
            <a:xfrm>
              <a:off x="5488" y="2478"/>
              <a:ext cx="790"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Schaltleiste</a:t>
              </a:r>
            </a:p>
          </p:txBody>
        </p:sp>
        <p:sp>
          <p:nvSpPr>
            <p:cNvPr id="39" name="Text Box 11"/>
            <p:cNvSpPr txBox="1">
              <a:spLocks noChangeArrowheads="1"/>
            </p:cNvSpPr>
            <p:nvPr/>
          </p:nvSpPr>
          <p:spPr bwMode="auto">
            <a:xfrm>
              <a:off x="4934" y="2673"/>
              <a:ext cx="514"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Rolltor</a:t>
              </a:r>
            </a:p>
          </p:txBody>
        </p:sp>
        <p:sp>
          <p:nvSpPr>
            <p:cNvPr id="40" name="Text Box 12"/>
            <p:cNvSpPr txBox="1">
              <a:spLocks noChangeArrowheads="1"/>
            </p:cNvSpPr>
            <p:nvPr/>
          </p:nvSpPr>
          <p:spPr bwMode="auto">
            <a:xfrm>
              <a:off x="4795" y="2947"/>
              <a:ext cx="1350"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Sicherheitszuhaltung</a:t>
              </a:r>
            </a:p>
          </p:txBody>
        </p:sp>
        <p:sp>
          <p:nvSpPr>
            <p:cNvPr id="41" name="Text Box 13"/>
            <p:cNvSpPr txBox="1">
              <a:spLocks noChangeArrowheads="1"/>
            </p:cNvSpPr>
            <p:nvPr/>
          </p:nvSpPr>
          <p:spPr bwMode="auto">
            <a:xfrm>
              <a:off x="3642" y="2990"/>
              <a:ext cx="1018"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Sicherheits-SPS</a:t>
              </a:r>
            </a:p>
          </p:txBody>
        </p:sp>
        <p:sp>
          <p:nvSpPr>
            <p:cNvPr id="42" name="Text Box 14"/>
            <p:cNvSpPr txBox="1">
              <a:spLocks noChangeArrowheads="1"/>
            </p:cNvSpPr>
            <p:nvPr/>
          </p:nvSpPr>
          <p:spPr bwMode="auto">
            <a:xfrm>
              <a:off x="3075" y="3294"/>
              <a:ext cx="955" cy="40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ergonomische</a:t>
              </a:r>
              <a:br>
                <a:rPr kumimoji="0" lang="de-DE" altLang="de-DE" sz="1800" b="0" i="0" u="none" strike="noStrike" kern="0" cap="none" spc="0" normalizeH="0" baseline="0" noProof="0">
                  <a:ln>
                    <a:noFill/>
                  </a:ln>
                  <a:solidFill>
                    <a:srgbClr val="000000"/>
                  </a:solidFill>
                  <a:effectLst/>
                  <a:uLnTx/>
                  <a:uFillTx/>
                  <a:latin typeface="+mj-lt"/>
                </a:rPr>
              </a:br>
              <a:r>
                <a:rPr kumimoji="0" lang="de-DE" altLang="de-DE" sz="1800" b="0" i="0" u="none" strike="noStrike" kern="0" cap="none" spc="0" normalizeH="0" baseline="0" noProof="0">
                  <a:ln>
                    <a:noFill/>
                  </a:ln>
                  <a:solidFill>
                    <a:srgbClr val="000000"/>
                  </a:solidFill>
                  <a:effectLst/>
                  <a:uLnTx/>
                  <a:uFillTx/>
                  <a:latin typeface="+mj-lt"/>
                </a:rPr>
                <a:t>Bedienung</a:t>
              </a:r>
            </a:p>
          </p:txBody>
        </p:sp>
        <p:sp>
          <p:nvSpPr>
            <p:cNvPr id="43" name="Text Box 15"/>
            <p:cNvSpPr txBox="1">
              <a:spLocks noChangeArrowheads="1"/>
            </p:cNvSpPr>
            <p:nvPr/>
          </p:nvSpPr>
          <p:spPr bwMode="auto">
            <a:xfrm>
              <a:off x="2167" y="3475"/>
              <a:ext cx="883"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a:ln>
                    <a:noFill/>
                  </a:ln>
                  <a:solidFill>
                    <a:srgbClr val="000000"/>
                  </a:solidFill>
                  <a:effectLst/>
                  <a:uLnTx/>
                  <a:uFillTx/>
                  <a:latin typeface="+mj-lt"/>
                </a:rPr>
                <a:t>Lichtvorhang</a:t>
              </a:r>
            </a:p>
          </p:txBody>
        </p:sp>
        <p:sp>
          <p:nvSpPr>
            <p:cNvPr id="44" name="Text Box 16"/>
            <p:cNvSpPr txBox="1">
              <a:spLocks noChangeArrowheads="1"/>
            </p:cNvSpPr>
            <p:nvPr/>
          </p:nvSpPr>
          <p:spPr bwMode="auto">
            <a:xfrm>
              <a:off x="178" y="2750"/>
              <a:ext cx="928" cy="2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800" b="0" i="0" u="none" strike="noStrike" kern="0" cap="none" spc="0" normalizeH="0" baseline="0" noProof="0" dirty="0">
                  <a:ln>
                    <a:noFill/>
                  </a:ln>
                  <a:solidFill>
                    <a:srgbClr val="000000"/>
                  </a:solidFill>
                  <a:effectLst/>
                  <a:uLnTx/>
                  <a:uFillTx/>
                  <a:latin typeface="+mj-lt"/>
                </a:rPr>
                <a:t>Lichtschranke</a:t>
              </a:r>
            </a:p>
          </p:txBody>
        </p:sp>
        <p:sp>
          <p:nvSpPr>
            <p:cNvPr id="45" name="Line 17"/>
            <p:cNvSpPr>
              <a:spLocks noChangeShapeType="1"/>
            </p:cNvSpPr>
            <p:nvPr/>
          </p:nvSpPr>
          <p:spPr bwMode="auto">
            <a:xfrm>
              <a:off x="1759" y="1570"/>
              <a:ext cx="318" cy="136"/>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46" name="Line 18"/>
            <p:cNvSpPr>
              <a:spLocks noChangeShapeType="1"/>
            </p:cNvSpPr>
            <p:nvPr/>
          </p:nvSpPr>
          <p:spPr bwMode="auto">
            <a:xfrm>
              <a:off x="2848" y="1162"/>
              <a:ext cx="408" cy="272"/>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47" name="Line 19"/>
            <p:cNvSpPr>
              <a:spLocks noChangeShapeType="1"/>
            </p:cNvSpPr>
            <p:nvPr/>
          </p:nvSpPr>
          <p:spPr bwMode="auto">
            <a:xfrm>
              <a:off x="3392" y="754"/>
              <a:ext cx="499" cy="408"/>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48" name="Line 20"/>
            <p:cNvSpPr>
              <a:spLocks noChangeShapeType="1"/>
            </p:cNvSpPr>
            <p:nvPr/>
          </p:nvSpPr>
          <p:spPr bwMode="auto">
            <a:xfrm flipH="1">
              <a:off x="4345" y="663"/>
              <a:ext cx="1043" cy="318"/>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49" name="Line 21"/>
            <p:cNvSpPr>
              <a:spLocks noChangeShapeType="1"/>
            </p:cNvSpPr>
            <p:nvPr/>
          </p:nvSpPr>
          <p:spPr bwMode="auto">
            <a:xfrm flipH="1" flipV="1">
              <a:off x="5388" y="2024"/>
              <a:ext cx="181" cy="454"/>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50" name="Line 22"/>
            <p:cNvSpPr>
              <a:spLocks noChangeShapeType="1"/>
            </p:cNvSpPr>
            <p:nvPr/>
          </p:nvSpPr>
          <p:spPr bwMode="auto">
            <a:xfrm flipV="1">
              <a:off x="5070" y="2037"/>
              <a:ext cx="73" cy="622"/>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51" name="Line 23"/>
            <p:cNvSpPr>
              <a:spLocks noChangeShapeType="1"/>
            </p:cNvSpPr>
            <p:nvPr/>
          </p:nvSpPr>
          <p:spPr bwMode="auto">
            <a:xfrm flipH="1" flipV="1">
              <a:off x="4572" y="2568"/>
              <a:ext cx="317" cy="408"/>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52" name="Line 24"/>
            <p:cNvSpPr>
              <a:spLocks noChangeShapeType="1"/>
            </p:cNvSpPr>
            <p:nvPr/>
          </p:nvSpPr>
          <p:spPr bwMode="auto">
            <a:xfrm flipH="1" flipV="1">
              <a:off x="3574" y="2432"/>
              <a:ext cx="362" cy="544"/>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53" name="Line 25"/>
            <p:cNvSpPr>
              <a:spLocks noChangeShapeType="1"/>
            </p:cNvSpPr>
            <p:nvPr/>
          </p:nvSpPr>
          <p:spPr bwMode="auto">
            <a:xfrm flipH="1" flipV="1">
              <a:off x="2938" y="2976"/>
              <a:ext cx="272" cy="318"/>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54" name="Line 26"/>
            <p:cNvSpPr>
              <a:spLocks noChangeShapeType="1"/>
            </p:cNvSpPr>
            <p:nvPr/>
          </p:nvSpPr>
          <p:spPr bwMode="auto">
            <a:xfrm flipV="1">
              <a:off x="2228" y="2840"/>
              <a:ext cx="363" cy="635"/>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55" name="Line 27"/>
            <p:cNvSpPr>
              <a:spLocks noChangeShapeType="1"/>
            </p:cNvSpPr>
            <p:nvPr/>
          </p:nvSpPr>
          <p:spPr bwMode="auto">
            <a:xfrm>
              <a:off x="988" y="2931"/>
              <a:ext cx="318" cy="0"/>
            </a:xfrm>
            <a:prstGeom prst="line">
              <a:avLst/>
            </a:prstGeom>
            <a:noFill/>
            <a:ln w="1079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grpSp>
    </p:spTree>
    <p:custDataLst>
      <p:tags r:id="rId1"/>
    </p:custDataLst>
    <p:extLst>
      <p:ext uri="{BB962C8B-B14F-4D97-AF65-F5344CB8AC3E}">
        <p14:creationId xmlns:p14="http://schemas.microsoft.com/office/powerpoint/2010/main" val="1837863044"/>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normAutofit fontScale="90000"/>
          </a:bodyPr>
          <a:lstStyle/>
          <a:p>
            <a:pPr eaLnBrk="1" hangingPunct="1"/>
            <a:r>
              <a:rPr lang="de-DE" altLang="de-DE"/>
              <a:t>Sicherheit durch trennende Schutzeinrichtungen</a:t>
            </a:r>
          </a:p>
        </p:txBody>
      </p:sp>
      <p:sp>
        <p:nvSpPr>
          <p:cNvPr id="2" name="Fußzeilenplatzhalter 1"/>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3" name="Foliennummernplatzhalter 2"/>
          <p:cNvSpPr>
            <a:spLocks noGrp="1"/>
          </p:cNvSpPr>
          <p:nvPr>
            <p:ph type="sldNum" sz="quarter" idx="16"/>
          </p:nvPr>
        </p:nvSpPr>
        <p:spPr/>
        <p:txBody>
          <a:bodyPr/>
          <a:lstStyle/>
          <a:p>
            <a:fld id="{61F2C2C2-1EE4-4D60-B09F-2141F977BFAA}" type="slidenum">
              <a:rPr lang="de-DE" altLang="de-DE" smtClean="0"/>
              <a:pPr/>
              <a:t>26</a:t>
            </a:fld>
            <a:endParaRPr lang="de-DE" altLang="de-DE"/>
          </a:p>
        </p:txBody>
      </p:sp>
      <p:sp>
        <p:nvSpPr>
          <p:cNvPr id="8" name="Rectangle 3"/>
          <p:cNvSpPr txBox="1">
            <a:spLocks noChangeArrowheads="1"/>
          </p:cNvSpPr>
          <p:nvPr/>
        </p:nvSpPr>
        <p:spPr bwMode="auto">
          <a:xfrm>
            <a:off x="624417" y="1226733"/>
            <a:ext cx="5956300" cy="485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Typische Beispiele für trennende Schutzeinrichtungen sind eine Einhausung, Zäune oder Plexiglas. Diese besitzen eine hohe Zuverlässigkeit.</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Je nach Prozess sind unterschiedliche Sicherheitsanforderungen zu erfüllen, z.B. bei der Laserbearbeitung.</a:t>
            </a:r>
          </a:p>
          <a:p>
            <a:pPr marL="266700" marR="0" lvl="0" indent="-266700" algn="l" defTabSz="914400" rtl="0" eaLnBrk="1" fontAlgn="base" latinLnBrk="0" hangingPunct="1">
              <a:lnSpc>
                <a:spcPct val="100000"/>
              </a:lnSpc>
              <a:spcBef>
                <a:spcPct val="30000"/>
              </a:spcBef>
              <a:spcAft>
                <a:spcPct val="20000"/>
              </a:spcAft>
              <a:buClr>
                <a:srgbClr val="006DB6"/>
              </a:buClr>
              <a:buSzPct val="90000"/>
              <a:buFont typeface="Wingdings" pitchFamily="2" charset="2"/>
              <a:buNone/>
              <a:tabLst>
                <a:tab pos="266700" algn="l"/>
                <a:tab pos="631825" algn="l"/>
                <a:tab pos="981075" algn="l"/>
              </a:tabLst>
              <a:defRPr/>
            </a:pPr>
            <a:endParaRPr kumimoji="0" lang="de-DE" altLang="de-DE" sz="1800" b="0" i="0" u="none" strike="noStrike" kern="0" cap="none" spc="0" normalizeH="0" baseline="0" noProof="0" dirty="0">
              <a:ln>
                <a:noFill/>
              </a:ln>
              <a:solidFill>
                <a:srgbClr val="000000"/>
              </a:solidFill>
              <a:effectLst/>
              <a:uLnTx/>
              <a:uFillTx/>
              <a:latin typeface="+mj-lt"/>
              <a:ea typeface="+mn-ea"/>
              <a:cs typeface="+mn-cs"/>
            </a:endParaRPr>
          </a:p>
          <a:p>
            <a:pPr marL="266700" marR="0" lvl="0" indent="-266700" algn="l" defTabSz="914400" rtl="0" eaLnBrk="1" fontAlgn="base" latinLnBrk="0" hangingPunct="1">
              <a:lnSpc>
                <a:spcPct val="100000"/>
              </a:lnSpc>
              <a:spcBef>
                <a:spcPct val="30000"/>
              </a:spcBef>
              <a:spcAft>
                <a:spcPct val="20000"/>
              </a:spcAft>
              <a:buClr>
                <a:srgbClr val="006DB6"/>
              </a:buClr>
              <a:buSzPct val="90000"/>
              <a:buFont typeface="Wingdings" pitchFamily="2" charset="2"/>
              <a:buNone/>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Nachteile sind:</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ein vergrößerter Platzbedarf für die Anlage</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keine Interaktionsmöglichkeiten mit dem Werker</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ein Eingriff des Bedieners verursacht i.d.R. einen Not-Aus</a:t>
            </a:r>
          </a:p>
        </p:txBody>
      </p:sp>
      <p:pic>
        <p:nvPicPr>
          <p:cNvPr id="9" name="Picture 6"/>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656917" y="1226733"/>
            <a:ext cx="3409950" cy="285750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 name="Grafik 4">
            <a:extLst>
              <a:ext uri="{FF2B5EF4-FFF2-40B4-BE49-F238E27FC236}">
                <a16:creationId xmlns:a16="http://schemas.microsoft.com/office/drawing/2014/main" id="{7D15274D-8C02-1B71-0BFA-0E23089CBA7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326" r="7383" b="12517"/>
          <a:stretch/>
        </p:blipFill>
        <p:spPr bwMode="auto">
          <a:xfrm>
            <a:off x="9133758" y="1835428"/>
            <a:ext cx="2485390" cy="2307590"/>
          </a:xfrm>
          <a:prstGeom prst="rect">
            <a:avLst/>
          </a:prstGeom>
          <a:noFill/>
          <a:ln>
            <a:noFill/>
          </a:ln>
          <a:extLst>
            <a:ext uri="{53640926-AAD7-44D8-BBD7-CCE9431645EC}">
              <a14:shadowObscured xmlns:a14="http://schemas.microsoft.com/office/drawing/2010/main"/>
            </a:ext>
          </a:extLst>
        </p:spPr>
      </p:pic>
      <p:pic>
        <p:nvPicPr>
          <p:cNvPr id="6" name="Grafik 5">
            <a:extLst>
              <a:ext uri="{FF2B5EF4-FFF2-40B4-BE49-F238E27FC236}">
                <a16:creationId xmlns:a16="http://schemas.microsoft.com/office/drawing/2014/main" id="{C13EE7F5-D177-0B26-36FD-9BE100D82BA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3449" b="9938"/>
          <a:stretch/>
        </p:blipFill>
        <p:spPr bwMode="auto">
          <a:xfrm>
            <a:off x="6865095" y="4252383"/>
            <a:ext cx="2490470" cy="2152650"/>
          </a:xfrm>
          <a:prstGeom prst="rect">
            <a:avLst/>
          </a:prstGeom>
          <a:noFill/>
          <a:ln>
            <a:noFill/>
          </a:ln>
          <a:extLst>
            <a:ext uri="{53640926-AAD7-44D8-BBD7-CCE9431645EC}">
              <a14:shadowObscured xmlns:a14="http://schemas.microsoft.com/office/drawing/2010/main"/>
            </a:ext>
          </a:extLst>
        </p:spPr>
      </p:pic>
      <p:sp>
        <p:nvSpPr>
          <p:cNvPr id="10" name="Textfeld 9">
            <a:extLst>
              <a:ext uri="{FF2B5EF4-FFF2-40B4-BE49-F238E27FC236}">
                <a16:creationId xmlns:a16="http://schemas.microsoft.com/office/drawing/2014/main" id="{C478EEB3-B929-41FD-D7FA-60403E3449D8}"/>
              </a:ext>
            </a:extLst>
          </p:cNvPr>
          <p:cNvSpPr txBox="1"/>
          <p:nvPr/>
        </p:nvSpPr>
        <p:spPr>
          <a:xfrm>
            <a:off x="6885763" y="6029120"/>
            <a:ext cx="2619374" cy="808106"/>
          </a:xfrm>
          <a:prstGeom prst="rect">
            <a:avLst/>
          </a:prstGeom>
          <a:noFill/>
        </p:spPr>
        <p:txBody>
          <a:bodyPr wrap="square">
            <a:spAutoFit/>
          </a:bodyPr>
          <a:lstStyle/>
          <a:p>
            <a:pPr algn="just">
              <a:lnSpc>
                <a:spcPct val="107000"/>
              </a:lnSpc>
              <a:spcAft>
                <a:spcPts val="300"/>
              </a:spcAft>
            </a:pPr>
            <a:r>
              <a:rPr lang="de-CH" sz="1800" dirty="0">
                <a:effectLst/>
                <a:latin typeface="Arial" panose="020B0604020202020204" pitchFamily="34" charset="0"/>
                <a:ea typeface="Arial" panose="020B0604020202020204" pitchFamily="34" charset="0"/>
                <a:cs typeface="Times New Roman" panose="02020603050405020304" pitchFamily="18" charset="0"/>
              </a:rPr>
              <a:t> </a:t>
            </a:r>
          </a:p>
          <a:p>
            <a:pPr algn="just">
              <a:lnSpc>
                <a:spcPct val="107000"/>
              </a:lnSpc>
              <a:spcAft>
                <a:spcPts val="300"/>
              </a:spcAft>
            </a:pPr>
            <a:r>
              <a:rPr lang="de-CH" sz="1200" b="1" dirty="0">
                <a:effectLst/>
                <a:latin typeface="Arial" panose="020B0604020202020204" pitchFamily="34" charset="0"/>
                <a:ea typeface="Arial" panose="020B0604020202020204" pitchFamily="34" charset="0"/>
                <a:cs typeface="Times New Roman" panose="02020603050405020304" pitchFamily="18" charset="0"/>
              </a:rPr>
              <a:t>Trennend beweglich: Teile, Stoffe, Strahlungen zurückhalten</a:t>
            </a:r>
            <a:endParaRPr lang="de-CH" sz="1200" dirty="0">
              <a:effectLst/>
              <a:latin typeface="Arial" panose="020B0604020202020204" pitchFamily="34" charset="0"/>
              <a:ea typeface="Arial" panose="020B060402020202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871226154"/>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normAutofit fontScale="90000"/>
          </a:bodyPr>
          <a:lstStyle/>
          <a:p>
            <a:pPr eaLnBrk="1" hangingPunct="1">
              <a:lnSpc>
                <a:spcPct val="100000"/>
              </a:lnSpc>
            </a:pPr>
            <a:r>
              <a:rPr lang="de-DE" altLang="de-DE" dirty="0"/>
              <a:t>Sicherheit durch nicht-trennende Schutzeinrichtungen</a:t>
            </a:r>
          </a:p>
        </p:txBody>
      </p:sp>
      <p:sp>
        <p:nvSpPr>
          <p:cNvPr id="2" name="Fußzeilenplatzhalter 1"/>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3" name="Foliennummernplatzhalter 2"/>
          <p:cNvSpPr>
            <a:spLocks noGrp="1"/>
          </p:cNvSpPr>
          <p:nvPr>
            <p:ph type="sldNum" sz="quarter" idx="16"/>
          </p:nvPr>
        </p:nvSpPr>
        <p:spPr/>
        <p:txBody>
          <a:bodyPr/>
          <a:lstStyle/>
          <a:p>
            <a:fld id="{61F2C2C2-1EE4-4D60-B09F-2141F977BFAA}" type="slidenum">
              <a:rPr lang="de-DE" altLang="de-DE" smtClean="0"/>
              <a:pPr/>
              <a:t>27</a:t>
            </a:fld>
            <a:endParaRPr lang="de-DE" altLang="de-DE"/>
          </a:p>
        </p:txBody>
      </p:sp>
      <p:sp>
        <p:nvSpPr>
          <p:cNvPr id="22" name="Rectangle 3"/>
          <p:cNvSpPr txBox="1">
            <a:spLocks noChangeArrowheads="1"/>
          </p:cNvSpPr>
          <p:nvPr/>
        </p:nvSpPr>
        <p:spPr bwMode="auto">
          <a:xfrm>
            <a:off x="668086" y="1218113"/>
            <a:ext cx="5769757" cy="485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Sicherheitseinrichtungen ohne trennende Schutzeinrichtung (OTS-Systeme) bieten eine höhere Flexibilität.</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Häufig werden optische Systeme, wie z.B. Laserscanner, Lichtschranken oder 3D-Kameras eingesetzt.</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OTS-Systeme können „maßgeschneidert“ an die Maschine angepasst werden und benötigen somit einen geringeren Platzbedarf.</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Durch prozessabhängiges (De-)Aktivieren ist auch eine Mensch-Maschine-Interaktion/Kooperation möglich</a:t>
            </a:r>
          </a:p>
          <a:p>
            <a:pPr marL="266700" marR="0" lvl="0" indent="-266700" algn="l" defTabSz="914400" rtl="0" eaLnBrk="1" fontAlgn="base" latinLnBrk="0" hangingPunct="1">
              <a:lnSpc>
                <a:spcPct val="100000"/>
              </a:lnSpc>
              <a:spcBef>
                <a:spcPct val="30000"/>
              </a:spcBef>
              <a:spcAft>
                <a:spcPct val="20000"/>
              </a:spcAft>
              <a:buClr>
                <a:srgbClr val="006DB6"/>
              </a:buClr>
              <a:buSzPct val="90000"/>
              <a:buFont typeface="Wingdings" pitchFamily="2" charset="2"/>
              <a:buNone/>
              <a:tabLst>
                <a:tab pos="266700" algn="l"/>
                <a:tab pos="631825" algn="l"/>
                <a:tab pos="981075" algn="l"/>
              </a:tabLst>
              <a:defRPr/>
            </a:pPr>
            <a:endParaRPr kumimoji="0" lang="de-DE" altLang="de-DE" sz="1600" b="0" i="0" u="none" strike="noStrike" kern="0" cap="none" spc="0" normalizeH="0" baseline="0" noProof="0" dirty="0">
              <a:ln>
                <a:noFill/>
              </a:ln>
              <a:solidFill>
                <a:srgbClr val="000000"/>
              </a:solidFill>
              <a:effectLst/>
              <a:uLnTx/>
              <a:uFillTx/>
              <a:latin typeface="+mj-lt"/>
              <a:ea typeface="+mn-ea"/>
              <a:cs typeface="+mn-cs"/>
            </a:endParaRPr>
          </a:p>
          <a:p>
            <a:pPr marL="266700" marR="0" lvl="0" indent="-266700" algn="l" defTabSz="914400" rtl="0" eaLnBrk="1" fontAlgn="base" latinLnBrk="0" hangingPunct="1">
              <a:lnSpc>
                <a:spcPct val="100000"/>
              </a:lnSpc>
              <a:spcBef>
                <a:spcPct val="30000"/>
              </a:spcBef>
              <a:spcAft>
                <a:spcPct val="20000"/>
              </a:spcAft>
              <a:buClr>
                <a:srgbClr val="006DB6"/>
              </a:buClr>
              <a:buSzPct val="90000"/>
              <a:buFont typeface="Wingdings" pitchFamily="2" charset="2"/>
              <a:buNone/>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Nachteile:</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Je nach Reaktionszeit des Systems müssen große Sicherheitsabstände eingehalten werden</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ea typeface="+mn-ea"/>
                <a:cs typeface="+mn-cs"/>
              </a:rPr>
              <a:t>OTS-Systeme bieten keinen Schutz vor umher-</a:t>
            </a:r>
            <a:br>
              <a:rPr kumimoji="0" lang="de-DE" altLang="de-DE" sz="1600" b="0" i="0" u="none" strike="noStrike" kern="0" cap="none" spc="0" normalizeH="0" baseline="0" noProof="0" dirty="0">
                <a:ln>
                  <a:noFill/>
                </a:ln>
                <a:solidFill>
                  <a:srgbClr val="000000"/>
                </a:solidFill>
                <a:effectLst/>
                <a:uLnTx/>
                <a:uFillTx/>
                <a:latin typeface="+mj-lt"/>
                <a:ea typeface="+mn-ea"/>
                <a:cs typeface="+mn-cs"/>
              </a:rPr>
            </a:br>
            <a:r>
              <a:rPr kumimoji="0" lang="de-DE" altLang="de-DE" sz="1600" b="0" i="0" u="none" strike="noStrike" kern="0" cap="none" spc="0" normalizeH="0" baseline="0" noProof="0" dirty="0">
                <a:ln>
                  <a:noFill/>
                </a:ln>
                <a:solidFill>
                  <a:srgbClr val="000000"/>
                </a:solidFill>
                <a:effectLst/>
                <a:uLnTx/>
                <a:uFillTx/>
                <a:latin typeface="+mj-lt"/>
                <a:ea typeface="+mn-ea"/>
                <a:cs typeface="+mn-cs"/>
              </a:rPr>
              <a:t>fliegenden Bauteilen oder Prozesseinflüssen</a:t>
            </a:r>
            <a:br>
              <a:rPr kumimoji="0" lang="de-DE" altLang="de-DE" sz="1600" b="0" i="0" u="none" strike="noStrike" kern="0" cap="none" spc="0" normalizeH="0" baseline="0" noProof="0" dirty="0">
                <a:ln>
                  <a:noFill/>
                </a:ln>
                <a:solidFill>
                  <a:srgbClr val="000000"/>
                </a:solidFill>
                <a:effectLst/>
                <a:uLnTx/>
                <a:uFillTx/>
                <a:latin typeface="+mj-lt"/>
                <a:ea typeface="+mn-ea"/>
                <a:cs typeface="+mn-cs"/>
              </a:rPr>
            </a:br>
            <a:r>
              <a:rPr kumimoji="0" lang="de-DE" altLang="de-DE" sz="1600" b="0" i="0" u="none" strike="noStrike" kern="0" cap="none" spc="0" normalizeH="0" baseline="0" noProof="0" dirty="0">
                <a:ln>
                  <a:noFill/>
                </a:ln>
                <a:solidFill>
                  <a:srgbClr val="000000"/>
                </a:solidFill>
                <a:effectLst/>
                <a:uLnTx/>
                <a:uFillTx/>
                <a:latin typeface="+mj-lt"/>
                <a:ea typeface="+mn-ea"/>
                <a:cs typeface="+mn-cs"/>
              </a:rPr>
              <a:t>(Laserstrahl, Hitze, Dämpfe…)</a:t>
            </a:r>
          </a:p>
        </p:txBody>
      </p:sp>
      <p:sp>
        <p:nvSpPr>
          <p:cNvPr id="23" name="Quelle"/>
          <p:cNvSpPr txBox="1">
            <a:spLocks noChangeArrowheads="1"/>
          </p:cNvSpPr>
          <p:nvPr/>
        </p:nvSpPr>
        <p:spPr bwMode="auto">
          <a:xfrm>
            <a:off x="10459186" y="6053930"/>
            <a:ext cx="9467850" cy="16158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lang="de-DE" altLang="de-DE" sz="750" dirty="0">
                <a:latin typeface="+mj-lt"/>
              </a:rPr>
              <a:t>Quelle: Pilz GmbH &amp; Co. KG</a:t>
            </a:r>
          </a:p>
        </p:txBody>
      </p:sp>
      <p:pic>
        <p:nvPicPr>
          <p:cNvPr id="24"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55174" y="2584053"/>
            <a:ext cx="2949681" cy="234420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25" name="Group 36"/>
          <p:cNvGrpSpPr>
            <a:grpSpLocks/>
          </p:cNvGrpSpPr>
          <p:nvPr/>
        </p:nvGrpSpPr>
        <p:grpSpPr bwMode="auto">
          <a:xfrm>
            <a:off x="5634038" y="4928258"/>
            <a:ext cx="3798888" cy="1943100"/>
            <a:chOff x="3696" y="2443"/>
            <a:chExt cx="2393" cy="1224"/>
          </a:xfrm>
        </p:grpSpPr>
        <p:grpSp>
          <p:nvGrpSpPr>
            <p:cNvPr id="26" name="Group 32"/>
            <p:cNvGrpSpPr>
              <a:grpSpLocks/>
            </p:cNvGrpSpPr>
            <p:nvPr/>
          </p:nvGrpSpPr>
          <p:grpSpPr bwMode="auto">
            <a:xfrm>
              <a:off x="3696" y="2443"/>
              <a:ext cx="2393" cy="1224"/>
              <a:chOff x="3696" y="2443"/>
              <a:chExt cx="2393" cy="1224"/>
            </a:xfrm>
          </p:grpSpPr>
          <p:sp>
            <p:nvSpPr>
              <p:cNvPr id="29" name="Text Box 23"/>
              <p:cNvSpPr txBox="1">
                <a:spLocks noChangeAspect="1" noChangeArrowheads="1"/>
              </p:cNvSpPr>
              <p:nvPr/>
            </p:nvSpPr>
            <p:spPr bwMode="auto">
              <a:xfrm>
                <a:off x="3696" y="2443"/>
                <a:ext cx="721" cy="212"/>
              </a:xfrm>
              <a:prstGeom prst="rect">
                <a:avLst/>
              </a:prstGeom>
              <a:solidFill>
                <a:srgbClr val="FFFFFF"/>
              </a:solidFill>
              <a:ln>
                <a:noFill/>
              </a:ln>
              <a:effectLst/>
              <a:extLs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SafetyEye</a:t>
                </a:r>
              </a:p>
            </p:txBody>
          </p:sp>
          <p:sp>
            <p:nvSpPr>
              <p:cNvPr id="30" name="Text Box 24"/>
              <p:cNvSpPr txBox="1">
                <a:spLocks noChangeAspect="1" noChangeArrowheads="1"/>
              </p:cNvSpPr>
              <p:nvPr/>
            </p:nvSpPr>
            <p:spPr bwMode="auto">
              <a:xfrm>
                <a:off x="3696" y="2805"/>
                <a:ext cx="869" cy="212"/>
              </a:xfrm>
              <a:prstGeom prst="rect">
                <a:avLst/>
              </a:prstGeom>
              <a:solidFill>
                <a:srgbClr val="FFFFFF"/>
              </a:solidFill>
              <a:ln>
                <a:noFill/>
              </a:ln>
              <a:effectLst/>
              <a:extLs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Schutzraum</a:t>
                </a:r>
              </a:p>
            </p:txBody>
          </p:sp>
          <p:pic>
            <p:nvPicPr>
              <p:cNvPr id="31" name="Picture 25"/>
              <p:cNvPicPr>
                <a:picLocks noChangeAspect="1" noChangeArrowheads="1"/>
              </p:cNvPicPr>
              <p:nvPr/>
            </p:nvPicPr>
            <p:blipFill>
              <a:blip r:embed="rId5"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363" y="2443"/>
                <a:ext cx="1726" cy="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26"/>
              <p:cNvSpPr txBox="1">
                <a:spLocks noChangeAspect="1" noChangeArrowheads="1"/>
              </p:cNvSpPr>
              <p:nvPr/>
            </p:nvSpPr>
            <p:spPr bwMode="auto">
              <a:xfrm>
                <a:off x="3696" y="3087"/>
                <a:ext cx="660" cy="212"/>
              </a:xfrm>
              <a:prstGeom prst="rect">
                <a:avLst/>
              </a:prstGeom>
              <a:solidFill>
                <a:srgbClr val="FFFFFF"/>
              </a:solidFill>
              <a:ln>
                <a:noFill/>
              </a:ln>
              <a:effectLst/>
              <a:extLs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Roboter</a:t>
                </a:r>
              </a:p>
            </p:txBody>
          </p:sp>
          <p:sp>
            <p:nvSpPr>
              <p:cNvPr id="33" name="Text Box 27"/>
              <p:cNvSpPr txBox="1">
                <a:spLocks noChangeAspect="1" noChangeArrowheads="1"/>
              </p:cNvSpPr>
              <p:nvPr/>
            </p:nvSpPr>
            <p:spPr bwMode="auto">
              <a:xfrm>
                <a:off x="3696" y="3365"/>
                <a:ext cx="660" cy="212"/>
              </a:xfrm>
              <a:prstGeom prst="rect">
                <a:avLst/>
              </a:prstGeom>
              <a:solidFill>
                <a:srgbClr val="FFFFFF"/>
              </a:solidFill>
              <a:ln>
                <a:noFill/>
              </a:ln>
              <a:effectLst/>
              <a:extLs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Hüllkurve</a:t>
                </a:r>
              </a:p>
            </p:txBody>
          </p:sp>
          <p:sp>
            <p:nvSpPr>
              <p:cNvPr id="34" name="Line 28"/>
              <p:cNvSpPr>
                <a:spLocks noChangeAspect="1" noChangeShapeType="1"/>
              </p:cNvSpPr>
              <p:nvPr/>
            </p:nvSpPr>
            <p:spPr bwMode="auto">
              <a:xfrm>
                <a:off x="4404" y="2524"/>
                <a:ext cx="845"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35" name="Line 29"/>
              <p:cNvSpPr>
                <a:spLocks noChangeAspect="1" noChangeShapeType="1"/>
              </p:cNvSpPr>
              <p:nvPr/>
            </p:nvSpPr>
            <p:spPr bwMode="auto">
              <a:xfrm>
                <a:off x="4484" y="2886"/>
                <a:ext cx="564"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36" name="Line 30"/>
              <p:cNvSpPr>
                <a:spLocks noChangeAspect="1" noChangeShapeType="1"/>
              </p:cNvSpPr>
              <p:nvPr/>
            </p:nvSpPr>
            <p:spPr bwMode="auto">
              <a:xfrm>
                <a:off x="4323" y="3168"/>
                <a:ext cx="846"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sp>
            <p:nvSpPr>
              <p:cNvPr id="37" name="Line 31"/>
              <p:cNvSpPr>
                <a:spLocks noChangeAspect="1" noChangeShapeType="1"/>
              </p:cNvSpPr>
              <p:nvPr/>
            </p:nvSpPr>
            <p:spPr bwMode="auto">
              <a:xfrm>
                <a:off x="4363" y="3450"/>
                <a:ext cx="604"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grpSp>
        <p:sp>
          <p:nvSpPr>
            <p:cNvPr id="27" name="Text Box 33"/>
            <p:cNvSpPr txBox="1">
              <a:spLocks noChangeArrowheads="1"/>
            </p:cNvSpPr>
            <p:nvPr/>
          </p:nvSpPr>
          <p:spPr bwMode="auto">
            <a:xfrm>
              <a:off x="3705" y="2620"/>
              <a:ext cx="684"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mj-lt"/>
                </a:rPr>
                <a:t>Warnraum</a:t>
              </a:r>
            </a:p>
          </p:txBody>
        </p:sp>
        <p:sp>
          <p:nvSpPr>
            <p:cNvPr id="28" name="Line 34"/>
            <p:cNvSpPr>
              <a:spLocks noChangeShapeType="1"/>
            </p:cNvSpPr>
            <p:nvPr/>
          </p:nvSpPr>
          <p:spPr bwMode="auto">
            <a:xfrm flipH="1">
              <a:off x="4419" y="2742"/>
              <a:ext cx="620" cy="0"/>
            </a:xfrm>
            <a:prstGeom prst="line">
              <a:avLst/>
            </a:prstGeom>
            <a:noFill/>
            <a:ln w="1079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mj-lt"/>
              </a:endParaRPr>
            </a:p>
          </p:txBody>
        </p:sp>
      </p:grpSp>
      <p:pic>
        <p:nvPicPr>
          <p:cNvPr id="4" name="Grafik 3">
            <a:extLst>
              <a:ext uri="{FF2B5EF4-FFF2-40B4-BE49-F238E27FC236}">
                <a16:creationId xmlns:a16="http://schemas.microsoft.com/office/drawing/2014/main" id="{26530795-506D-447D-9CB8-428B5C022807}"/>
              </a:ext>
            </a:extLst>
          </p:cNvPr>
          <p:cNvPicPr>
            <a:picLocks noChangeAspect="1"/>
          </p:cNvPicPr>
          <p:nvPr/>
        </p:nvPicPr>
        <p:blipFill>
          <a:blip r:embed="rId6"/>
          <a:stretch>
            <a:fillRect/>
          </a:stretch>
        </p:blipFill>
        <p:spPr>
          <a:xfrm>
            <a:off x="6691208" y="248963"/>
            <a:ext cx="5027295" cy="2276475"/>
          </a:xfrm>
          <a:prstGeom prst="rect">
            <a:avLst/>
          </a:prstGeom>
        </p:spPr>
      </p:pic>
      <p:pic>
        <p:nvPicPr>
          <p:cNvPr id="5" name="Grafik 4">
            <a:extLst>
              <a:ext uri="{FF2B5EF4-FFF2-40B4-BE49-F238E27FC236}">
                <a16:creationId xmlns:a16="http://schemas.microsoft.com/office/drawing/2014/main" id="{A99FB01C-6162-9B03-2AC5-966ECBDFC4C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9793"/>
          <a:stretch/>
        </p:blipFill>
        <p:spPr bwMode="auto">
          <a:xfrm>
            <a:off x="9252695" y="2561095"/>
            <a:ext cx="2769235" cy="2492375"/>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2887432786"/>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624419" y="452966"/>
            <a:ext cx="11237381" cy="551575"/>
          </a:xfrm>
        </p:spPr>
        <p:txBody>
          <a:bodyPr>
            <a:normAutofit fontScale="90000"/>
          </a:bodyPr>
          <a:lstStyle/>
          <a:p>
            <a:pPr eaLnBrk="1" hangingPunct="1">
              <a:lnSpc>
                <a:spcPct val="100000"/>
              </a:lnSpc>
            </a:pPr>
            <a:r>
              <a:rPr lang="de-DE" altLang="de-DE" dirty="0"/>
              <a:t>Anwendungsbeispiel einer nicht-trennenden Schutzeinrichtung</a:t>
            </a:r>
          </a:p>
        </p:txBody>
      </p:sp>
      <p:sp>
        <p:nvSpPr>
          <p:cNvPr id="2" name="Fußzeilenplatzhalter 1"/>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3" name="Foliennummernplatzhalter 2"/>
          <p:cNvSpPr>
            <a:spLocks noGrp="1"/>
          </p:cNvSpPr>
          <p:nvPr>
            <p:ph type="sldNum" sz="quarter" idx="16"/>
          </p:nvPr>
        </p:nvSpPr>
        <p:spPr/>
        <p:txBody>
          <a:bodyPr/>
          <a:lstStyle/>
          <a:p>
            <a:fld id="{61F2C2C2-1EE4-4D60-B09F-2141F977BFAA}" type="slidenum">
              <a:rPr lang="de-DE" altLang="de-DE" smtClean="0"/>
              <a:pPr/>
              <a:t>28</a:t>
            </a:fld>
            <a:endParaRPr lang="de-DE" altLang="de-DE"/>
          </a:p>
        </p:txBody>
      </p:sp>
      <p:pic>
        <p:nvPicPr>
          <p:cNvPr id="11"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929772" y="3512792"/>
            <a:ext cx="2895600" cy="257175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39572" y="1172817"/>
            <a:ext cx="2900363" cy="217170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3" name="Picture 6"/>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053972" y="3512792"/>
            <a:ext cx="1958975" cy="2605088"/>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4" name="Rectangle 8"/>
          <p:cNvSpPr txBox="1">
            <a:spLocks noChangeArrowheads="1"/>
          </p:cNvSpPr>
          <p:nvPr/>
        </p:nvSpPr>
        <p:spPr bwMode="auto">
          <a:xfrm>
            <a:off x="624417" y="1172817"/>
            <a:ext cx="6413500"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66700" marR="0" lvl="0" indent="-266700" algn="l" defTabSz="914400" rtl="0" eaLnBrk="1" fontAlgn="base" latinLnBrk="0" hangingPunct="1">
              <a:lnSpc>
                <a:spcPct val="100000"/>
              </a:lnSpc>
              <a:spcBef>
                <a:spcPct val="30000"/>
              </a:spcBef>
              <a:spcAft>
                <a:spcPct val="20000"/>
              </a:spcAft>
              <a:buClr>
                <a:srgbClr val="006DB6"/>
              </a:buClr>
              <a:buSzPct val="90000"/>
              <a:buFont typeface="Wingdings" pitchFamily="2" charset="2"/>
              <a:buNone/>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rPr>
              <a:t>Roboterzelle mit OTS-Systemen:</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rPr>
              <a:t>Montage von </a:t>
            </a:r>
            <a:r>
              <a:rPr kumimoji="0" lang="de-DE" altLang="de-DE" sz="1800" b="0" i="0" u="none" strike="noStrike" kern="0" cap="none" spc="0" normalizeH="0" baseline="0" noProof="0" dirty="0" err="1">
                <a:ln>
                  <a:noFill/>
                </a:ln>
                <a:solidFill>
                  <a:srgbClr val="000000"/>
                </a:solidFill>
                <a:effectLst/>
                <a:uLnTx/>
                <a:uFillTx/>
                <a:latin typeface="+mj-lt"/>
              </a:rPr>
              <a:t>Hinterachsausgleichsgetrieben</a:t>
            </a:r>
            <a:r>
              <a:rPr kumimoji="0" lang="de-DE" altLang="de-DE" sz="1800" b="0" i="0" u="none" strike="noStrike" kern="0" cap="none" spc="0" normalizeH="0" baseline="0" noProof="0" dirty="0">
                <a:ln>
                  <a:noFill/>
                </a:ln>
                <a:solidFill>
                  <a:srgbClr val="000000"/>
                </a:solidFill>
                <a:effectLst/>
                <a:uLnTx/>
                <a:uFillTx/>
                <a:latin typeface="+mj-lt"/>
              </a:rPr>
              <a:t>. </a:t>
            </a:r>
            <a:r>
              <a:rPr kumimoji="0" lang="de-DE" altLang="de-DE" sz="1600" b="0" i="0" u="none" strike="noStrike" kern="0" cap="none" spc="0" normalizeH="0" baseline="0" noProof="0" dirty="0">
                <a:ln>
                  <a:noFill/>
                </a:ln>
                <a:solidFill>
                  <a:srgbClr val="000000"/>
                </a:solidFill>
                <a:effectLst/>
                <a:uLnTx/>
                <a:uFillTx/>
                <a:latin typeface="+mj-lt"/>
              </a:rPr>
              <a:t>Eine Automatisierung des Gesamtsystems ist auf Grund hoher Toleranzen von Dämpfungselementen nicht möglich.</a:t>
            </a:r>
          </a:p>
          <a:p>
            <a:pPr marL="631825" marR="0" lvl="1" indent="-185738" algn="l" defTabSz="914400" rtl="0" eaLnBrk="1" fontAlgn="base" latinLnBrk="0" hangingPunct="1">
              <a:lnSpc>
                <a:spcPct val="100000"/>
              </a:lnSpc>
              <a:spcBef>
                <a:spcPct val="0"/>
              </a:spcBef>
              <a:spcAft>
                <a:spcPct val="20000"/>
              </a:spcAft>
              <a:buClr>
                <a:srgbClr val="000000"/>
              </a:buClr>
              <a:buSzTx/>
              <a:buFont typeface="Arial" charset="0"/>
              <a:buChar char="–"/>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rPr>
              <a:t>Daher erfolgt die Bauteilentnahme und Vorpositionierung durch einen Roboter.</a:t>
            </a:r>
          </a:p>
          <a:p>
            <a:pPr marL="631825" marR="0" lvl="1" indent="-185738" algn="l" defTabSz="914400" rtl="0" eaLnBrk="1" fontAlgn="base" latinLnBrk="0" hangingPunct="1">
              <a:lnSpc>
                <a:spcPct val="100000"/>
              </a:lnSpc>
              <a:spcBef>
                <a:spcPct val="0"/>
              </a:spcBef>
              <a:spcAft>
                <a:spcPct val="20000"/>
              </a:spcAft>
              <a:buClr>
                <a:srgbClr val="000000"/>
              </a:buClr>
              <a:buSzTx/>
              <a:buFont typeface="Arial" charset="0"/>
              <a:buChar char="–"/>
              <a:tabLst>
                <a:tab pos="266700" algn="l"/>
                <a:tab pos="631825" algn="l"/>
                <a:tab pos="981075" algn="l"/>
              </a:tabLst>
              <a:defRPr/>
            </a:pPr>
            <a:r>
              <a:rPr kumimoji="0" lang="de-DE" altLang="de-DE" sz="1600" b="0" i="0" u="none" strike="noStrike" kern="0" cap="none" spc="0" normalizeH="0" baseline="0" noProof="0" dirty="0">
                <a:ln>
                  <a:noFill/>
                </a:ln>
                <a:solidFill>
                  <a:srgbClr val="000000"/>
                </a:solidFill>
                <a:effectLst/>
                <a:uLnTx/>
                <a:uFillTx/>
                <a:latin typeface="+mj-lt"/>
              </a:rPr>
              <a:t>Der Werker führt den Roboter auf den letzten Zentimetern über eine Kraft-Momenten-Sensorik am Endeffektor.</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rPr>
              <a:t>Durch gezieltes Ein- und Ausschalten</a:t>
            </a:r>
            <a:br>
              <a:rPr kumimoji="0" lang="de-DE" altLang="de-DE" sz="1800" b="0" i="0" u="none" strike="noStrike" kern="0" cap="none" spc="0" normalizeH="0" baseline="0" noProof="0" dirty="0">
                <a:ln>
                  <a:noFill/>
                </a:ln>
                <a:solidFill>
                  <a:srgbClr val="000000"/>
                </a:solidFill>
                <a:effectLst/>
                <a:uLnTx/>
                <a:uFillTx/>
                <a:latin typeface="+mj-lt"/>
              </a:rPr>
            </a:br>
            <a:r>
              <a:rPr kumimoji="0" lang="de-DE" altLang="de-DE" sz="1800" b="0" i="0" u="none" strike="noStrike" kern="0" cap="none" spc="0" normalizeH="0" baseline="0" noProof="0" dirty="0">
                <a:ln>
                  <a:noFill/>
                </a:ln>
                <a:solidFill>
                  <a:srgbClr val="000000"/>
                </a:solidFill>
                <a:effectLst/>
                <a:uLnTx/>
                <a:uFillTx/>
                <a:latin typeface="+mj-lt"/>
              </a:rPr>
              <a:t>der Sicherheitseinrichtungen werden</a:t>
            </a:r>
            <a:br>
              <a:rPr kumimoji="0" lang="de-DE" altLang="de-DE" sz="1800" b="0" i="0" u="none" strike="noStrike" kern="0" cap="none" spc="0" normalizeH="0" baseline="0" noProof="0" dirty="0">
                <a:ln>
                  <a:noFill/>
                </a:ln>
                <a:solidFill>
                  <a:srgbClr val="000000"/>
                </a:solidFill>
                <a:effectLst/>
                <a:uLnTx/>
                <a:uFillTx/>
                <a:latin typeface="+mj-lt"/>
              </a:rPr>
            </a:br>
            <a:r>
              <a:rPr kumimoji="0" lang="de-DE" altLang="de-DE" sz="1800" b="0" i="0" u="none" strike="noStrike" kern="0" cap="none" spc="0" normalizeH="0" baseline="0" noProof="0" dirty="0">
                <a:ln>
                  <a:noFill/>
                </a:ln>
                <a:solidFill>
                  <a:srgbClr val="000000"/>
                </a:solidFill>
                <a:effectLst/>
                <a:uLnTx/>
                <a:uFillTx/>
                <a:latin typeface="+mj-lt"/>
              </a:rPr>
              <a:t>Arbeitsbereiche gesperrt oder</a:t>
            </a:r>
            <a:br>
              <a:rPr kumimoji="0" lang="de-DE" altLang="de-DE" sz="1800" b="0" i="0" u="none" strike="noStrike" kern="0" cap="none" spc="0" normalizeH="0" baseline="0" noProof="0" dirty="0">
                <a:ln>
                  <a:noFill/>
                </a:ln>
                <a:solidFill>
                  <a:srgbClr val="000000"/>
                </a:solidFill>
                <a:effectLst/>
                <a:uLnTx/>
                <a:uFillTx/>
                <a:latin typeface="+mj-lt"/>
              </a:rPr>
            </a:br>
            <a:r>
              <a:rPr kumimoji="0" lang="de-DE" altLang="de-DE" sz="1800" b="0" i="0" u="none" strike="noStrike" kern="0" cap="none" spc="0" normalizeH="0" baseline="0" noProof="0" dirty="0">
                <a:ln>
                  <a:noFill/>
                </a:ln>
                <a:solidFill>
                  <a:srgbClr val="000000"/>
                </a:solidFill>
                <a:effectLst/>
                <a:uLnTx/>
                <a:uFillTx/>
                <a:latin typeface="+mj-lt"/>
              </a:rPr>
              <a:t>freigegeben.</a:t>
            </a:r>
          </a:p>
          <a:p>
            <a:pPr marL="266700" marR="0" lvl="0" indent="-266700" algn="l" defTabSz="914400" rtl="0" eaLnBrk="1" fontAlgn="base" latinLnBrk="0" hangingPunct="1">
              <a:lnSpc>
                <a:spcPct val="100000"/>
              </a:lnSpc>
              <a:spcBef>
                <a:spcPct val="30000"/>
              </a:spcBef>
              <a:spcAft>
                <a:spcPct val="20000"/>
              </a:spcAft>
              <a:buClr>
                <a:srgbClr val="006DB6"/>
              </a:buClr>
              <a:buSzPct val="90000"/>
              <a:buFont typeface="Wingdings" pitchFamily="2" charset="2"/>
              <a:buChar char="n"/>
              <a:tabLst>
                <a:tab pos="266700" algn="l"/>
                <a:tab pos="631825" algn="l"/>
                <a:tab pos="981075" algn="l"/>
              </a:tabLst>
              <a:defRPr/>
            </a:pPr>
            <a:endParaRPr kumimoji="0" lang="de-DE" altLang="de-DE" sz="1800" b="0" i="0" u="none" strike="noStrike" kern="0" cap="none" spc="0" normalizeH="0" baseline="0" noProof="0" dirty="0">
              <a:ln>
                <a:noFill/>
              </a:ln>
              <a:solidFill>
                <a:srgbClr val="000000"/>
              </a:solidFill>
              <a:effectLst/>
              <a:uLnTx/>
              <a:uFillTx/>
              <a:latin typeface="+mj-lt"/>
            </a:endParaRPr>
          </a:p>
          <a:p>
            <a:pPr marL="631825" marR="0" lvl="1" indent="-185738" algn="l" defTabSz="914400" rtl="0" eaLnBrk="1" fontAlgn="base" latinLnBrk="0" hangingPunct="1">
              <a:lnSpc>
                <a:spcPct val="100000"/>
              </a:lnSpc>
              <a:spcBef>
                <a:spcPct val="0"/>
              </a:spcBef>
              <a:spcAft>
                <a:spcPct val="20000"/>
              </a:spcAft>
              <a:buClr>
                <a:srgbClr val="000000"/>
              </a:buClr>
              <a:buSzTx/>
              <a:buFont typeface="Arial" charset="0"/>
              <a:buChar char="–"/>
              <a:tabLst>
                <a:tab pos="266700" algn="l"/>
                <a:tab pos="631825" algn="l"/>
                <a:tab pos="981075" algn="l"/>
              </a:tabLst>
              <a:defRPr/>
            </a:pPr>
            <a:endParaRPr kumimoji="0" lang="de-DE" altLang="de-DE" sz="1600" b="0" i="0" u="none" strike="noStrike" kern="0" cap="none" spc="0" normalizeH="0" baseline="0" noProof="0" dirty="0">
              <a:ln>
                <a:noFill/>
              </a:ln>
              <a:solidFill>
                <a:srgbClr val="000000"/>
              </a:solidFill>
              <a:effectLst/>
              <a:uLnTx/>
              <a:uFillTx/>
              <a:latin typeface="+mj-lt"/>
            </a:endParaRPr>
          </a:p>
        </p:txBody>
      </p:sp>
      <p:sp>
        <p:nvSpPr>
          <p:cNvPr id="15" name="Quelle"/>
          <p:cNvSpPr txBox="1">
            <a:spLocks noChangeArrowheads="1"/>
          </p:cNvSpPr>
          <p:nvPr/>
        </p:nvSpPr>
        <p:spPr bwMode="auto">
          <a:xfrm>
            <a:off x="10033460" y="6476635"/>
            <a:ext cx="9467850" cy="16158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0"/>
              </a:spcBef>
              <a:spcAft>
                <a:spcPct val="0"/>
              </a:spcAft>
              <a:buClrTx/>
              <a:buSzTx/>
              <a:buFontTx/>
              <a:buNone/>
              <a:tabLst/>
              <a:defRPr/>
            </a:pPr>
            <a:r>
              <a:rPr lang="de-DE" altLang="de-DE" sz="750" dirty="0">
                <a:latin typeface="+mj-lt"/>
              </a:rPr>
              <a:t>Quelle: </a:t>
            </a:r>
            <a:r>
              <a:rPr lang="de-DE" altLang="de-DE" sz="750" dirty="0" err="1">
                <a:latin typeface="+mj-lt"/>
              </a:rPr>
              <a:t>Assistor</a:t>
            </a:r>
            <a:endParaRPr lang="de-DE" altLang="de-DE" sz="750" dirty="0">
              <a:latin typeface="+mj-lt"/>
            </a:endParaRPr>
          </a:p>
        </p:txBody>
      </p:sp>
    </p:spTree>
    <p:extLst>
      <p:ext uri="{BB962C8B-B14F-4D97-AF65-F5344CB8AC3E}">
        <p14:creationId xmlns:p14="http://schemas.microsoft.com/office/powerpoint/2010/main" val="428961131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5705966-833C-F70C-6E35-D74067BAF481}"/>
              </a:ext>
            </a:extLst>
          </p:cNvPr>
          <p:cNvSpPr>
            <a:spLocks noGrp="1"/>
          </p:cNvSpPr>
          <p:nvPr>
            <p:ph idx="1"/>
          </p:nvPr>
        </p:nvSpPr>
        <p:spPr>
          <a:xfrm>
            <a:off x="624420" y="1196871"/>
            <a:ext cx="7325780" cy="4832352"/>
          </a:xfrm>
        </p:spPr>
        <p:txBody>
          <a:bodyPr/>
          <a:lstStyle/>
          <a:p>
            <a:pPr marL="285750" indent="-285750">
              <a:spcBef>
                <a:spcPts val="300"/>
              </a:spcBef>
              <a:buFont typeface="Arial" panose="020B0604020202020204" pitchFamily="34" charset="0"/>
              <a:buChar char="•"/>
            </a:pPr>
            <a:r>
              <a:rPr lang="de-CH" b="1" dirty="0"/>
              <a:t>Laserscanner</a:t>
            </a:r>
            <a:r>
              <a:rPr lang="de-CH" dirty="0"/>
              <a:t> sind Systeme zur </a:t>
            </a:r>
            <a:r>
              <a:rPr lang="de-CH" b="1" dirty="0"/>
              <a:t>Entfernungsmessung</a:t>
            </a:r>
            <a:r>
              <a:rPr lang="de-CH" dirty="0"/>
              <a:t>, welche auf dem </a:t>
            </a:r>
            <a:r>
              <a:rPr lang="de-CH" b="1" dirty="0"/>
              <a:t>Prinzip der Lichtlaufzeitmessung </a:t>
            </a:r>
            <a:r>
              <a:rPr lang="de-CH" dirty="0"/>
              <a:t>beruhen. </a:t>
            </a:r>
          </a:p>
          <a:p>
            <a:pPr marL="285750" indent="-285750">
              <a:spcBef>
                <a:spcPts val="300"/>
              </a:spcBef>
              <a:buFont typeface="Arial" panose="020B0604020202020204" pitchFamily="34" charset="0"/>
              <a:buChar char="•"/>
            </a:pPr>
            <a:r>
              <a:rPr lang="de-CH" dirty="0"/>
              <a:t>Den technischen Kern des Systems bildet ein Laufzeit- Mess-System, dessen Strahl durch ein Spiegelsystem abgelenkt wird. Dabei können Abstände in einem Öffnungswinkel zwischen 180° und 270° erfasst werden. Der Arbeitsradius kann zwischen wenigen Metern und mehreren 10 m liegen.</a:t>
            </a:r>
          </a:p>
          <a:p>
            <a:pPr marL="285750" indent="-285750">
              <a:spcBef>
                <a:spcPts val="300"/>
              </a:spcBef>
              <a:buFont typeface="Arial" panose="020B0604020202020204" pitchFamily="34" charset="0"/>
              <a:buChar char="•"/>
            </a:pPr>
            <a:r>
              <a:rPr lang="de-CH" dirty="0"/>
              <a:t>Der Scanner gibt dabei in zeitlicher Reihenfolge die Entfernungsmesswerte aus. Durch die Rotationsbewegung des Spiegelsystems beziehen sich diese auf einen zentralen Punkt und müssen dem zufolge in Polarkoordinaten aufgetragen werden. </a:t>
            </a:r>
          </a:p>
          <a:p>
            <a:pPr marL="285750" indent="-285750">
              <a:spcBef>
                <a:spcPts val="300"/>
              </a:spcBef>
              <a:buFont typeface="Arial" panose="020B0604020202020204" pitchFamily="34" charset="0"/>
              <a:buChar char="•"/>
            </a:pPr>
            <a:r>
              <a:rPr lang="de-CH" dirty="0"/>
              <a:t>Aus diesem Grund entstehen auch in der Abstandsfunktion die bizarren Ecken, da der Abstand immer radial aufgetragen werden muss. </a:t>
            </a:r>
          </a:p>
        </p:txBody>
      </p:sp>
      <p:sp>
        <p:nvSpPr>
          <p:cNvPr id="3" name="Titel 2">
            <a:extLst>
              <a:ext uri="{FF2B5EF4-FFF2-40B4-BE49-F238E27FC236}">
                <a16:creationId xmlns:a16="http://schemas.microsoft.com/office/drawing/2014/main" id="{A80FD166-96C2-FBB3-A544-83A1647806B6}"/>
              </a:ext>
            </a:extLst>
          </p:cNvPr>
          <p:cNvSpPr>
            <a:spLocks noGrp="1"/>
          </p:cNvSpPr>
          <p:nvPr>
            <p:ph type="title"/>
          </p:nvPr>
        </p:nvSpPr>
        <p:spPr/>
        <p:txBody>
          <a:bodyPr>
            <a:normAutofit fontScale="90000"/>
          </a:bodyPr>
          <a:lstStyle/>
          <a:p>
            <a:r>
              <a:rPr lang="de-CH" dirty="0"/>
              <a:t>Objekterkennung mit Laserscannern</a:t>
            </a:r>
          </a:p>
        </p:txBody>
      </p:sp>
      <p:sp>
        <p:nvSpPr>
          <p:cNvPr id="4" name="Fußzeilenplatzhalter 3">
            <a:extLst>
              <a:ext uri="{FF2B5EF4-FFF2-40B4-BE49-F238E27FC236}">
                <a16:creationId xmlns:a16="http://schemas.microsoft.com/office/drawing/2014/main" id="{8221BDF0-7EAE-80B0-407A-0C348DA4CFFE}"/>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3369E81-C04D-C3F5-9DE3-7C0661D6CC1B}"/>
              </a:ext>
            </a:extLst>
          </p:cNvPr>
          <p:cNvSpPr>
            <a:spLocks noGrp="1"/>
          </p:cNvSpPr>
          <p:nvPr>
            <p:ph type="sldNum" sz="quarter" idx="16"/>
          </p:nvPr>
        </p:nvSpPr>
        <p:spPr/>
        <p:txBody>
          <a:bodyPr/>
          <a:lstStyle/>
          <a:p>
            <a:fld id="{61F2C2C2-1EE4-4D60-B09F-2141F977BFAA}" type="slidenum">
              <a:rPr lang="de-DE" altLang="de-DE" smtClean="0"/>
              <a:pPr/>
              <a:t>29</a:t>
            </a:fld>
            <a:endParaRPr lang="de-DE" altLang="de-DE"/>
          </a:p>
        </p:txBody>
      </p:sp>
      <p:pic>
        <p:nvPicPr>
          <p:cNvPr id="7" name="Grafik 6">
            <a:extLst>
              <a:ext uri="{FF2B5EF4-FFF2-40B4-BE49-F238E27FC236}">
                <a16:creationId xmlns:a16="http://schemas.microsoft.com/office/drawing/2014/main" id="{9C99B865-0F9B-D000-A39F-F42E9F816060}"/>
              </a:ext>
            </a:extLst>
          </p:cNvPr>
          <p:cNvPicPr>
            <a:picLocks noChangeAspect="1"/>
          </p:cNvPicPr>
          <p:nvPr/>
        </p:nvPicPr>
        <p:blipFill rotWithShape="1">
          <a:blip r:embed="rId3"/>
          <a:srcRect l="58277" b="13573"/>
          <a:stretch/>
        </p:blipFill>
        <p:spPr>
          <a:xfrm>
            <a:off x="8263467" y="490891"/>
            <a:ext cx="3152772" cy="2938109"/>
          </a:xfrm>
          <a:prstGeom prst="rect">
            <a:avLst/>
          </a:prstGeom>
        </p:spPr>
      </p:pic>
      <p:pic>
        <p:nvPicPr>
          <p:cNvPr id="6" name="Grafik 5">
            <a:extLst>
              <a:ext uri="{FF2B5EF4-FFF2-40B4-BE49-F238E27FC236}">
                <a16:creationId xmlns:a16="http://schemas.microsoft.com/office/drawing/2014/main" id="{42A4849A-FBD0-806F-520C-F9E4634FDDA5}"/>
              </a:ext>
            </a:extLst>
          </p:cNvPr>
          <p:cNvPicPr>
            <a:picLocks noChangeAspect="1"/>
          </p:cNvPicPr>
          <p:nvPr/>
        </p:nvPicPr>
        <p:blipFill rotWithShape="1">
          <a:blip r:embed="rId3"/>
          <a:srcRect l="3880" r="60154" b="13573"/>
          <a:stretch/>
        </p:blipFill>
        <p:spPr>
          <a:xfrm>
            <a:off x="8136466" y="3429000"/>
            <a:ext cx="2717800" cy="2938110"/>
          </a:xfrm>
          <a:prstGeom prst="rect">
            <a:avLst/>
          </a:prstGeom>
        </p:spPr>
      </p:pic>
      <p:sp>
        <p:nvSpPr>
          <p:cNvPr id="8" name="Quelle">
            <a:extLst>
              <a:ext uri="{FF2B5EF4-FFF2-40B4-BE49-F238E27FC236}">
                <a16:creationId xmlns:a16="http://schemas.microsoft.com/office/drawing/2014/main" id="{00B8FC31-6871-E94D-0657-75C529EE77C1}"/>
              </a:ext>
            </a:extLst>
          </p:cNvPr>
          <p:cNvSpPr txBox="1">
            <a:spLocks noChangeArrowheads="1"/>
          </p:cNvSpPr>
          <p:nvPr/>
        </p:nvSpPr>
        <p:spPr bwMode="auto">
          <a:xfrm>
            <a:off x="10024073" y="6472123"/>
            <a:ext cx="9467850" cy="16158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eaLnBrk="1" hangingPunct="1">
              <a:spcBef>
                <a:spcPct val="0"/>
              </a:spcBef>
              <a:spcAft>
                <a:spcPct val="0"/>
              </a:spcAft>
              <a:buClrTx/>
              <a:buSzTx/>
              <a:buFontTx/>
              <a:buNone/>
            </a:pPr>
            <a:r>
              <a:rPr lang="de-DE" altLang="de-DE" sz="750" dirty="0">
                <a:latin typeface="+mj-lt"/>
              </a:rPr>
              <a:t>Quelle: Sick AG</a:t>
            </a:r>
          </a:p>
        </p:txBody>
      </p:sp>
    </p:spTree>
    <p:extLst>
      <p:ext uri="{BB962C8B-B14F-4D97-AF65-F5344CB8AC3E}">
        <p14:creationId xmlns:p14="http://schemas.microsoft.com/office/powerpoint/2010/main" val="106067492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10A6DB1-76FB-D8DC-69CA-21183599E3B2}"/>
              </a:ext>
            </a:extLst>
          </p:cNvPr>
          <p:cNvSpPr>
            <a:spLocks noGrp="1"/>
          </p:cNvSpPr>
          <p:nvPr>
            <p:ph type="title"/>
          </p:nvPr>
        </p:nvSpPr>
        <p:spPr/>
        <p:txBody>
          <a:bodyPr>
            <a:normAutofit fontScale="90000"/>
          </a:bodyPr>
          <a:lstStyle/>
          <a:p>
            <a:r>
              <a:rPr lang="de-CH" sz="3200" b="1" dirty="0">
                <a:latin typeface="Arial"/>
                <a:cs typeface="Arial"/>
              </a:rPr>
              <a:t>Einleitung</a:t>
            </a:r>
            <a:r>
              <a:rPr lang="de-CH" sz="3200" b="1" spc="145" dirty="0">
                <a:latin typeface="Arial"/>
                <a:cs typeface="Arial"/>
              </a:rPr>
              <a:t> </a:t>
            </a:r>
            <a:r>
              <a:rPr lang="de-CH" sz="3200" b="1" dirty="0">
                <a:latin typeface="Arial"/>
                <a:cs typeface="Arial"/>
              </a:rPr>
              <a:t>und</a:t>
            </a:r>
            <a:r>
              <a:rPr lang="de-CH" sz="3200" b="1" spc="150" dirty="0">
                <a:latin typeface="Arial"/>
                <a:cs typeface="Arial"/>
              </a:rPr>
              <a:t> </a:t>
            </a:r>
            <a:r>
              <a:rPr lang="de-CH" sz="3200" b="1" spc="-10" dirty="0">
                <a:latin typeface="Arial"/>
                <a:cs typeface="Arial"/>
              </a:rPr>
              <a:t>Motivation</a:t>
            </a:r>
            <a:endParaRPr lang="de-CH" dirty="0"/>
          </a:p>
        </p:txBody>
      </p:sp>
      <p:sp>
        <p:nvSpPr>
          <p:cNvPr id="4" name="Fußzeilenplatzhalter 3">
            <a:extLst>
              <a:ext uri="{FF2B5EF4-FFF2-40B4-BE49-F238E27FC236}">
                <a16:creationId xmlns:a16="http://schemas.microsoft.com/office/drawing/2014/main" id="{0C105983-A4FA-ED46-7CBF-546B453F5CF8}"/>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26960B1D-0374-48E6-2294-4AEA19F0603E}"/>
              </a:ext>
            </a:extLst>
          </p:cNvPr>
          <p:cNvSpPr>
            <a:spLocks noGrp="1"/>
          </p:cNvSpPr>
          <p:nvPr>
            <p:ph type="sldNum" sz="quarter" idx="16"/>
          </p:nvPr>
        </p:nvSpPr>
        <p:spPr/>
        <p:txBody>
          <a:bodyPr/>
          <a:lstStyle/>
          <a:p>
            <a:fld id="{61F2C2C2-1EE4-4D60-B09F-2141F977BFAA}" type="slidenum">
              <a:rPr lang="de-DE" altLang="de-DE" smtClean="0"/>
              <a:pPr/>
              <a:t>3</a:t>
            </a:fld>
            <a:endParaRPr lang="de-DE" altLang="de-DE"/>
          </a:p>
        </p:txBody>
      </p:sp>
      <p:pic>
        <p:nvPicPr>
          <p:cNvPr id="6" name="object 4">
            <a:extLst>
              <a:ext uri="{FF2B5EF4-FFF2-40B4-BE49-F238E27FC236}">
                <a16:creationId xmlns:a16="http://schemas.microsoft.com/office/drawing/2014/main" id="{890517BF-F516-7651-CA20-96F1CD435C02}"/>
              </a:ext>
            </a:extLst>
          </p:cNvPr>
          <p:cNvPicPr/>
          <p:nvPr/>
        </p:nvPicPr>
        <p:blipFill>
          <a:blip r:embed="rId2" cstate="print"/>
          <a:stretch>
            <a:fillRect/>
          </a:stretch>
        </p:blipFill>
        <p:spPr>
          <a:xfrm>
            <a:off x="2154913" y="1062581"/>
            <a:ext cx="7644407" cy="5707644"/>
          </a:xfrm>
          <a:prstGeom prst="rect">
            <a:avLst/>
          </a:prstGeom>
        </p:spPr>
      </p:pic>
      <p:sp>
        <p:nvSpPr>
          <p:cNvPr id="8" name="Textfeld 7">
            <a:extLst>
              <a:ext uri="{FF2B5EF4-FFF2-40B4-BE49-F238E27FC236}">
                <a16:creationId xmlns:a16="http://schemas.microsoft.com/office/drawing/2014/main" id="{9E79A1AD-044A-C2AC-FD8D-10DE5B7FC96E}"/>
              </a:ext>
            </a:extLst>
          </p:cNvPr>
          <p:cNvSpPr txBox="1"/>
          <p:nvPr/>
        </p:nvSpPr>
        <p:spPr>
          <a:xfrm>
            <a:off x="10736580" y="5983724"/>
            <a:ext cx="1115896" cy="215444"/>
          </a:xfrm>
          <a:prstGeom prst="rect">
            <a:avLst/>
          </a:prstGeom>
          <a:noFill/>
        </p:spPr>
        <p:txBody>
          <a:bodyPr wrap="square">
            <a:spAutoFit/>
          </a:bodyPr>
          <a:lstStyle/>
          <a:p>
            <a:pPr marL="12700">
              <a:spcBef>
                <a:spcPts val="390"/>
              </a:spcBef>
            </a:pPr>
            <a:r>
              <a:rPr lang="de-CH" sz="800" spc="-10" dirty="0" err="1">
                <a:latin typeface="Arial"/>
                <a:cs typeface="Arial"/>
              </a:rPr>
              <a:t>Quelle:</a:t>
            </a:r>
            <a:r>
              <a:rPr lang="de-CH" sz="800" spc="-10" dirty="0" err="1">
                <a:latin typeface="Arial"/>
                <a:cs typeface="Arial"/>
                <a:hlinkClick r:id="rId3">
                  <a:extLst>
                    <a:ext uri="{A12FA001-AC4F-418D-AE19-62706E023703}">
                      <ahyp:hlinkClr xmlns:ahyp="http://schemas.microsoft.com/office/drawing/2018/hyperlinkcolor" val="tx"/>
                    </a:ext>
                  </a:extLst>
                </a:hlinkClick>
              </a:rPr>
              <a:t>www.suva.ch</a:t>
            </a:r>
            <a:endParaRPr lang="de-CH" sz="800" dirty="0">
              <a:latin typeface="Arial"/>
              <a:cs typeface="Arial"/>
            </a:endParaRPr>
          </a:p>
        </p:txBody>
      </p:sp>
    </p:spTree>
    <p:extLst>
      <p:ext uri="{BB962C8B-B14F-4D97-AF65-F5344CB8AC3E}">
        <p14:creationId xmlns:p14="http://schemas.microsoft.com/office/powerpoint/2010/main" val="2539669609"/>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normAutofit fontScale="90000"/>
          </a:bodyPr>
          <a:lstStyle/>
          <a:p>
            <a:pPr eaLnBrk="1" hangingPunct="1"/>
            <a:r>
              <a:rPr lang="de-DE" altLang="de-DE"/>
              <a:t>Anwendungsbeispiel eines Laserscanners</a:t>
            </a:r>
          </a:p>
        </p:txBody>
      </p:sp>
      <p:sp>
        <p:nvSpPr>
          <p:cNvPr id="2" name="Fußzeilenplatzhalter 1"/>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3" name="Foliennummernplatzhalter 2"/>
          <p:cNvSpPr>
            <a:spLocks noGrp="1"/>
          </p:cNvSpPr>
          <p:nvPr>
            <p:ph type="sldNum" sz="quarter" idx="16"/>
          </p:nvPr>
        </p:nvSpPr>
        <p:spPr/>
        <p:txBody>
          <a:bodyPr/>
          <a:lstStyle/>
          <a:p>
            <a:fld id="{61F2C2C2-1EE4-4D60-B09F-2141F977BFAA}" type="slidenum">
              <a:rPr lang="de-DE" altLang="de-DE" smtClean="0"/>
              <a:pPr/>
              <a:t>30</a:t>
            </a:fld>
            <a:endParaRPr lang="de-DE" altLang="de-DE"/>
          </a:p>
        </p:txBody>
      </p:sp>
      <p:sp>
        <p:nvSpPr>
          <p:cNvPr id="12" name="Rectangle 3"/>
          <p:cNvSpPr txBox="1">
            <a:spLocks noChangeArrowheads="1"/>
          </p:cNvSpPr>
          <p:nvPr/>
        </p:nvSpPr>
        <p:spPr bwMode="auto">
          <a:xfrm>
            <a:off x="4358217" y="1063487"/>
            <a:ext cx="5626100" cy="50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Laserscanner sind an vielen ortsfesten Anlagen und beweglichen Transportsystemen einsetzbar.</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Über einen Laser wird der Überwachungsbereich erfasst und Abstände zu Objekten können über eine Laufzeitmessung ermittelt werden.</a:t>
            </a:r>
          </a:p>
          <a:p>
            <a:pPr marL="266700" marR="0" lvl="0" indent="-266700" algn="l" defTabSz="914400" rtl="0" eaLnBrk="1" fontAlgn="base" latinLnBrk="0" hangingPunct="1">
              <a:lnSpc>
                <a:spcPct val="100000"/>
              </a:lnSpc>
              <a:spcBef>
                <a:spcPct val="30000"/>
              </a:spcBef>
              <a:spcAft>
                <a:spcPct val="20000"/>
              </a:spcAft>
              <a:buClr>
                <a:srgbClr val="002060"/>
              </a:buClr>
              <a:buSzPct val="90000"/>
              <a:buFont typeface="Wingdings" pitchFamily="2" charset="2"/>
              <a:buChar char="n"/>
              <a:tabLst>
                <a:tab pos="266700" algn="l"/>
                <a:tab pos="631825" algn="l"/>
                <a:tab pos="981075" algn="l"/>
              </a:tabLst>
              <a:defRPr/>
            </a:pPr>
            <a:r>
              <a:rPr kumimoji="0" lang="de-DE" altLang="de-DE" sz="1800" b="0" i="0" u="none" strike="noStrike" kern="0" cap="none" spc="0" normalizeH="0" baseline="0" noProof="0" dirty="0">
                <a:ln>
                  <a:noFill/>
                </a:ln>
                <a:solidFill>
                  <a:srgbClr val="000000"/>
                </a:solidFill>
                <a:effectLst/>
                <a:uLnTx/>
                <a:uFillTx/>
                <a:latin typeface="+mj-lt"/>
                <a:ea typeface="+mn-ea"/>
                <a:cs typeface="+mn-cs"/>
              </a:rPr>
              <a:t>Es können Warnbereiche für abgestufte Warnzustände (nah, fern) konfiguriert werden.</a:t>
            </a:r>
          </a:p>
        </p:txBody>
      </p:sp>
      <p:pic>
        <p:nvPicPr>
          <p:cNvPr id="13"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4417" y="1139687"/>
            <a:ext cx="3036888" cy="2224088"/>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4417" y="3730487"/>
            <a:ext cx="3048000" cy="223837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 name="Picture 7"/>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358217" y="3730487"/>
            <a:ext cx="4419600" cy="2166938"/>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 name="Text Box 9"/>
          <p:cNvSpPr txBox="1">
            <a:spLocks noChangeArrowheads="1"/>
          </p:cNvSpPr>
          <p:nvPr/>
        </p:nvSpPr>
        <p:spPr bwMode="auto">
          <a:xfrm>
            <a:off x="4275667" y="5706925"/>
            <a:ext cx="2755900" cy="244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marL="0" marR="0" lvl="0" indent="0" defTabSz="914400" eaLnBrk="1" fontAlgn="auto" latinLnBrk="0" hangingPunct="1">
              <a:lnSpc>
                <a:spcPct val="100000"/>
              </a:lnSpc>
              <a:spcBef>
                <a:spcPct val="50000"/>
              </a:spcBef>
              <a:spcAft>
                <a:spcPct val="0"/>
              </a:spcAft>
              <a:buClrTx/>
              <a:buSzTx/>
              <a:buFontTx/>
              <a:buNone/>
              <a:tabLst/>
              <a:defRPr/>
            </a:pPr>
            <a:r>
              <a:rPr kumimoji="0" lang="de-DE" altLang="de-DE" sz="1000" b="1" i="0" u="none" strike="noStrike" kern="0" cap="none" spc="0" normalizeH="0" baseline="0" noProof="0">
                <a:ln>
                  <a:noFill/>
                </a:ln>
                <a:solidFill>
                  <a:srgbClr val="FFFFFF"/>
                </a:solidFill>
                <a:effectLst/>
                <a:uLnTx/>
                <a:uFillTx/>
                <a:latin typeface="Arial" charset="0"/>
              </a:rPr>
              <a:t>Quelle: Leuze</a:t>
            </a:r>
          </a:p>
        </p:txBody>
      </p:sp>
      <p:sp>
        <p:nvSpPr>
          <p:cNvPr id="17" name="Quelle"/>
          <p:cNvSpPr txBox="1">
            <a:spLocks noChangeArrowheads="1"/>
          </p:cNvSpPr>
          <p:nvPr/>
        </p:nvSpPr>
        <p:spPr bwMode="auto">
          <a:xfrm>
            <a:off x="10024073" y="6472123"/>
            <a:ext cx="9467850" cy="16158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lvl1pPr eaLnBrk="0" hangingPunct="0">
              <a:spcBef>
                <a:spcPct val="30000"/>
              </a:spcBef>
              <a:spcAft>
                <a:spcPct val="20000"/>
              </a:spcAft>
              <a:buClr>
                <a:srgbClr val="006DB6"/>
              </a:buClr>
              <a:buSzPct val="90000"/>
              <a:buFont typeface="Wingdings" pitchFamily="2" charset="2"/>
              <a:buChar char="n"/>
              <a:defRPr>
                <a:solidFill>
                  <a:schemeClr val="tx1"/>
                </a:solidFill>
                <a:latin typeface="Arial" charset="0"/>
              </a:defRPr>
            </a:lvl1pPr>
            <a:lvl2pPr marL="742950" indent="-285750" eaLnBrk="0" hangingPunct="0">
              <a:spcAft>
                <a:spcPct val="20000"/>
              </a:spcAft>
              <a:buClr>
                <a:schemeClr val="tx1"/>
              </a:buClr>
              <a:buFont typeface="Arial" charset="0"/>
              <a:buChar char="–"/>
              <a:defRPr sz="1600">
                <a:solidFill>
                  <a:schemeClr val="tx1"/>
                </a:solidFill>
                <a:latin typeface="Arial" charset="0"/>
              </a:defRPr>
            </a:lvl2pPr>
            <a:lvl3pPr marL="1143000" indent="-228600" eaLnBrk="0" hangingPunct="0">
              <a:spcAft>
                <a:spcPct val="20000"/>
              </a:spcAft>
              <a:buClr>
                <a:schemeClr val="tx1"/>
              </a:buClr>
              <a:buFont typeface="Wingdings" pitchFamily="2" charset="2"/>
              <a:buChar char="§"/>
              <a:defRPr sz="1600">
                <a:solidFill>
                  <a:schemeClr val="tx1"/>
                </a:solidFill>
                <a:latin typeface="Arial" charset="0"/>
              </a:defRPr>
            </a:lvl3pPr>
            <a:lvl4pPr marL="1600200" indent="-228600" eaLnBrk="0" hangingPunct="0">
              <a:spcAft>
                <a:spcPct val="20000"/>
              </a:spcAft>
              <a:buClr>
                <a:schemeClr val="tx1"/>
              </a:buClr>
              <a:buFont typeface="Wingdings" pitchFamily="2" charset="2"/>
              <a:buChar char="§"/>
              <a:defRPr sz="1600">
                <a:solidFill>
                  <a:schemeClr val="tx1"/>
                </a:solidFill>
                <a:latin typeface="Arial" charset="0"/>
              </a:defRPr>
            </a:lvl4pPr>
            <a:lvl5pPr marL="2057400" indent="-228600" eaLnBrk="0" hangingPunct="0">
              <a:spcAft>
                <a:spcPct val="20000"/>
              </a:spcAft>
              <a:buClr>
                <a:schemeClr val="tx1"/>
              </a:buClr>
              <a:buFont typeface="Wingdings" pitchFamily="2" charset="2"/>
              <a:buChar char="§"/>
              <a:defRPr sz="1600">
                <a:solidFill>
                  <a:schemeClr val="tx1"/>
                </a:solidFill>
                <a:latin typeface="Arial" charset="0"/>
              </a:defRPr>
            </a:lvl5pPr>
            <a:lvl6pPr marL="25146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20000"/>
              </a:spcAft>
              <a:buClr>
                <a:schemeClr val="tx1"/>
              </a:buClr>
              <a:buFont typeface="Wingdings" pitchFamily="2" charset="2"/>
              <a:buChar char="§"/>
              <a:defRPr sz="1600">
                <a:solidFill>
                  <a:schemeClr val="tx1"/>
                </a:solidFill>
                <a:latin typeface="Arial" charset="0"/>
              </a:defRPr>
            </a:lvl9pPr>
          </a:lstStyle>
          <a:p>
            <a:pPr eaLnBrk="1" hangingPunct="1">
              <a:spcBef>
                <a:spcPct val="0"/>
              </a:spcBef>
              <a:spcAft>
                <a:spcPct val="0"/>
              </a:spcAft>
              <a:buClrTx/>
              <a:buSzTx/>
              <a:buFontTx/>
              <a:buNone/>
            </a:pPr>
            <a:r>
              <a:rPr lang="de-DE" altLang="de-DE" sz="750" dirty="0">
                <a:latin typeface="+mj-lt"/>
              </a:rPr>
              <a:t>Quelle: Sick AG</a:t>
            </a:r>
          </a:p>
        </p:txBody>
      </p:sp>
      <p:pic>
        <p:nvPicPr>
          <p:cNvPr id="4" name="Grafik 3">
            <a:extLst>
              <a:ext uri="{FF2B5EF4-FFF2-40B4-BE49-F238E27FC236}">
                <a16:creationId xmlns:a16="http://schemas.microsoft.com/office/drawing/2014/main" id="{26530795-506D-447D-9CB8-428B5C022807}"/>
              </a:ext>
            </a:extLst>
          </p:cNvPr>
          <p:cNvPicPr>
            <a:picLocks noChangeAspect="1"/>
          </p:cNvPicPr>
          <p:nvPr/>
        </p:nvPicPr>
        <p:blipFill rotWithShape="1">
          <a:blip r:embed="rId6"/>
          <a:srcRect l="53891"/>
          <a:stretch/>
        </p:blipFill>
        <p:spPr>
          <a:xfrm>
            <a:off x="9511102" y="3363775"/>
            <a:ext cx="2318030" cy="2276475"/>
          </a:xfrm>
          <a:prstGeom prst="rect">
            <a:avLst/>
          </a:prstGeom>
        </p:spPr>
      </p:pic>
    </p:spTree>
    <p:extLst>
      <p:ext uri="{BB962C8B-B14F-4D97-AF65-F5344CB8AC3E}">
        <p14:creationId xmlns:p14="http://schemas.microsoft.com/office/powerpoint/2010/main" val="1675678487"/>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24418" y="339217"/>
            <a:ext cx="10919883" cy="787249"/>
          </a:xfrm>
        </p:spPr>
        <p:txBody>
          <a:bodyPr>
            <a:noAutofit/>
          </a:bodyPr>
          <a:lstStyle/>
          <a:p>
            <a:pPr>
              <a:lnSpc>
                <a:spcPct val="100000"/>
              </a:lnSpc>
            </a:pPr>
            <a:r>
              <a:rPr lang="de-DE" dirty="0"/>
              <a:t>Sicherheitsfeatures und Konzepte für kollaborative Roboter</a:t>
            </a:r>
          </a:p>
        </p:txBody>
      </p:sp>
      <p:sp>
        <p:nvSpPr>
          <p:cNvPr id="4" name="Fußzeilenplatzhalter 3"/>
          <p:cNvSpPr>
            <a:spLocks noGrp="1"/>
          </p:cNvSpPr>
          <p:nvPr>
            <p:ph type="ftr" sz="quarter" idx="15"/>
          </p:nvPr>
        </p:nvSpPr>
        <p:spPr/>
        <p:txBody>
          <a:bodyPr/>
          <a:lstStyle/>
          <a:p>
            <a:pPr defTabSz="582069"/>
            <a:r>
              <a:rPr lang="de-DE"/>
              <a:t>Automation II</a:t>
            </a:r>
            <a:endParaRPr lang="de-DE" dirty="0"/>
          </a:p>
        </p:txBody>
      </p:sp>
      <p:sp>
        <p:nvSpPr>
          <p:cNvPr id="5" name="Foliennummernplatzhalter 4"/>
          <p:cNvSpPr>
            <a:spLocks noGrp="1"/>
          </p:cNvSpPr>
          <p:nvPr>
            <p:ph type="sldNum" sz="quarter" idx="16"/>
          </p:nvPr>
        </p:nvSpPr>
        <p:spPr/>
        <p:txBody>
          <a:bodyPr/>
          <a:lstStyle/>
          <a:p>
            <a:fld id="{1E6235D0-FF99-C045-995D-75C61122D1C1}" type="slidenum">
              <a:rPr lang="de-DE" smtClean="0"/>
              <a:pPr/>
              <a:t>31</a:t>
            </a:fld>
            <a:endParaRPr lang="de-DE" dirty="0"/>
          </a:p>
        </p:txBody>
      </p:sp>
      <p:grpSp>
        <p:nvGrpSpPr>
          <p:cNvPr id="6" name="Gruppieren 5"/>
          <p:cNvGrpSpPr>
            <a:grpSpLocks/>
          </p:cNvGrpSpPr>
          <p:nvPr/>
        </p:nvGrpSpPr>
        <p:grpSpPr>
          <a:xfrm>
            <a:off x="624418" y="1520091"/>
            <a:ext cx="17153280" cy="5156920"/>
            <a:chOff x="408247" y="992102"/>
            <a:chExt cx="16081201" cy="4834611"/>
          </a:xfrm>
        </p:grpSpPr>
        <p:cxnSp>
          <p:nvCxnSpPr>
            <p:cNvPr id="7" name="AutoShape 3"/>
            <p:cNvCxnSpPr>
              <a:cxnSpLocks noChangeShapeType="1"/>
              <a:stCxn id="8" idx="2"/>
              <a:endCxn id="9" idx="0"/>
            </p:cNvCxnSpPr>
            <p:nvPr>
              <p:custDataLst>
                <p:tags r:id="rId1"/>
              </p:custDataLst>
            </p:nvPr>
          </p:nvCxnSpPr>
          <p:spPr bwMode="gray">
            <a:xfrm rot="5400000">
              <a:off x="2744407" y="354277"/>
              <a:ext cx="672283" cy="3387932"/>
            </a:xfrm>
            <a:prstGeom prst="bentConnector3">
              <a:avLst>
                <a:gd name="adj1" fmla="val 50000"/>
              </a:avLst>
            </a:prstGeom>
            <a:noFill/>
            <a:ln w="17272">
              <a:solidFill>
                <a:schemeClr val="accent2">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6"/>
            <p:cNvSpPr>
              <a:spLocks noChangeArrowheads="1"/>
            </p:cNvSpPr>
            <p:nvPr>
              <p:custDataLst>
                <p:tags r:id="rId2"/>
              </p:custDataLst>
            </p:nvPr>
          </p:nvSpPr>
          <p:spPr bwMode="gray">
            <a:xfrm>
              <a:off x="3168038" y="992102"/>
              <a:ext cx="3212952" cy="720000"/>
            </a:xfrm>
            <a:prstGeom prst="rect">
              <a:avLst/>
            </a:prstGeom>
            <a:solidFill>
              <a:schemeClr val="accent2">
                <a:lumMod val="50000"/>
              </a:schemeClr>
            </a:solidFill>
            <a:ln w="17272">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7536" tIns="48768" rIns="97536" bIns="48768" anchor="ctr"/>
            <a:lstStyle/>
            <a:p>
              <a:pPr algn="ctr">
                <a:buClr>
                  <a:schemeClr val="accent2"/>
                </a:buClr>
                <a:buSzPct val="100000"/>
                <a:buFont typeface="Wingdings" pitchFamily="2" charset="2"/>
                <a:buNone/>
              </a:pPr>
              <a:r>
                <a:rPr lang="de-DE" sz="2133" b="1" dirty="0">
                  <a:solidFill>
                    <a:schemeClr val="bg1"/>
                  </a:solidFill>
                </a:rPr>
                <a:t>MRK-Sicherheitsfeatures</a:t>
              </a:r>
            </a:p>
          </p:txBody>
        </p:sp>
        <p:sp>
          <p:nvSpPr>
            <p:cNvPr id="9" name="Rectangle 7"/>
            <p:cNvSpPr>
              <a:spLocks noChangeArrowheads="1"/>
            </p:cNvSpPr>
            <p:nvPr>
              <p:custDataLst>
                <p:tags r:id="rId3"/>
              </p:custDataLst>
            </p:nvPr>
          </p:nvSpPr>
          <p:spPr bwMode="gray">
            <a:xfrm>
              <a:off x="486582" y="2384385"/>
              <a:ext cx="1800000" cy="720000"/>
            </a:xfrm>
            <a:prstGeom prst="rect">
              <a:avLst/>
            </a:prstGeom>
            <a:solidFill>
              <a:schemeClr val="bg1"/>
            </a:solidFill>
            <a:ln w="17272">
              <a:solidFill>
                <a:schemeClr val="accent2">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6000" tIns="49920" rIns="96000" bIns="48768" anchor="ctr"/>
            <a:lstStyle/>
            <a:p>
              <a:pPr algn="ctr">
                <a:buClr>
                  <a:schemeClr val="accent2"/>
                </a:buClr>
                <a:buSzPct val="100000"/>
                <a:buFont typeface="Wingdings" pitchFamily="2" charset="2"/>
                <a:buNone/>
              </a:pPr>
              <a:r>
                <a:rPr lang="de-DE" sz="1867" dirty="0"/>
                <a:t>Interne Sensoren</a:t>
              </a:r>
            </a:p>
          </p:txBody>
        </p:sp>
        <p:sp>
          <p:nvSpPr>
            <p:cNvPr id="10" name="Rectangle 8"/>
            <p:cNvSpPr>
              <a:spLocks noChangeArrowheads="1"/>
            </p:cNvSpPr>
            <p:nvPr>
              <p:custDataLst>
                <p:tags r:id="rId4"/>
              </p:custDataLst>
            </p:nvPr>
          </p:nvSpPr>
          <p:spPr bwMode="gray">
            <a:xfrm>
              <a:off x="5221598" y="2383648"/>
              <a:ext cx="1800000" cy="720000"/>
            </a:xfrm>
            <a:prstGeom prst="rect">
              <a:avLst/>
            </a:prstGeom>
            <a:solidFill>
              <a:schemeClr val="bg1"/>
            </a:solidFill>
            <a:ln w="17272">
              <a:solidFill>
                <a:schemeClr val="accent2">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6000" tIns="49920" rIns="96000" bIns="48768" anchor="ctr"/>
            <a:lstStyle/>
            <a:p>
              <a:pPr algn="ctr">
                <a:buClr>
                  <a:schemeClr val="accent2"/>
                </a:buClr>
                <a:buSzPct val="100000"/>
                <a:buFont typeface="Wingdings" pitchFamily="2" charset="2"/>
                <a:buNone/>
              </a:pPr>
              <a:r>
                <a:rPr lang="de-DE" sz="1867" dirty="0"/>
                <a:t>Robot Design</a:t>
              </a:r>
            </a:p>
          </p:txBody>
        </p:sp>
        <p:sp>
          <p:nvSpPr>
            <p:cNvPr id="11" name="Rectangle 8"/>
            <p:cNvSpPr>
              <a:spLocks noChangeArrowheads="1"/>
            </p:cNvSpPr>
            <p:nvPr>
              <p:custDataLst>
                <p:tags r:id="rId5"/>
              </p:custDataLst>
            </p:nvPr>
          </p:nvSpPr>
          <p:spPr bwMode="gray">
            <a:xfrm>
              <a:off x="2872135" y="2383649"/>
              <a:ext cx="1800000" cy="720000"/>
            </a:xfrm>
            <a:prstGeom prst="rect">
              <a:avLst/>
            </a:prstGeom>
            <a:solidFill>
              <a:schemeClr val="bg1"/>
            </a:solidFill>
            <a:ln w="17272">
              <a:solidFill>
                <a:schemeClr val="accent2">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6000" tIns="49920" rIns="96000" bIns="48768" anchor="ctr"/>
            <a:lstStyle/>
            <a:p>
              <a:pPr algn="ctr">
                <a:buClr>
                  <a:schemeClr val="accent2"/>
                </a:buClr>
                <a:buSzPct val="100000"/>
              </a:pPr>
              <a:r>
                <a:rPr lang="de-DE" sz="1867" dirty="0"/>
                <a:t>Externe Sensoren</a:t>
              </a:r>
            </a:p>
          </p:txBody>
        </p:sp>
        <p:sp>
          <p:nvSpPr>
            <p:cNvPr id="12" name="Rectangle 9"/>
            <p:cNvSpPr>
              <a:spLocks noChangeArrowheads="1"/>
            </p:cNvSpPr>
            <p:nvPr>
              <p:custDataLst>
                <p:tags r:id="rId6"/>
              </p:custDataLst>
            </p:nvPr>
          </p:nvSpPr>
          <p:spPr bwMode="gray">
            <a:xfrm>
              <a:off x="7643251" y="2383647"/>
              <a:ext cx="1800000" cy="720000"/>
            </a:xfrm>
            <a:prstGeom prst="rect">
              <a:avLst/>
            </a:prstGeom>
            <a:solidFill>
              <a:schemeClr val="bg1"/>
            </a:solidFill>
            <a:ln w="17272">
              <a:solidFill>
                <a:schemeClr val="accent2">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6000" tIns="49920" rIns="96000" bIns="48768" anchor="ctr"/>
            <a:lstStyle/>
            <a:p>
              <a:pPr algn="ctr">
                <a:buClr>
                  <a:schemeClr val="accent2"/>
                </a:buClr>
                <a:buSzPct val="100000"/>
                <a:buFont typeface="Wingdings" pitchFamily="2" charset="2"/>
                <a:buNone/>
              </a:pPr>
              <a:r>
                <a:rPr lang="de-DE" sz="1867" dirty="0"/>
                <a:t>Prozess Design</a:t>
              </a:r>
            </a:p>
          </p:txBody>
        </p:sp>
        <p:cxnSp>
          <p:nvCxnSpPr>
            <p:cNvPr id="13" name="AutoShape 5"/>
            <p:cNvCxnSpPr>
              <a:cxnSpLocks noChangeShapeType="1"/>
              <a:stCxn id="8" idx="2"/>
              <a:endCxn id="12" idx="0"/>
            </p:cNvCxnSpPr>
            <p:nvPr>
              <p:custDataLst>
                <p:tags r:id="rId7"/>
              </p:custDataLst>
            </p:nvPr>
          </p:nvCxnSpPr>
          <p:spPr bwMode="gray">
            <a:xfrm rot="16200000" flipH="1">
              <a:off x="6323110" y="163505"/>
              <a:ext cx="671545" cy="3768737"/>
            </a:xfrm>
            <a:prstGeom prst="bentConnector3">
              <a:avLst>
                <a:gd name="adj1" fmla="val 50000"/>
              </a:avLst>
            </a:prstGeom>
            <a:noFill/>
            <a:ln w="17272">
              <a:solidFill>
                <a:schemeClr val="accent2">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AutoShape 5"/>
            <p:cNvCxnSpPr>
              <a:cxnSpLocks noChangeShapeType="1"/>
              <a:stCxn id="8" idx="2"/>
              <a:endCxn id="10" idx="0"/>
            </p:cNvCxnSpPr>
            <p:nvPr>
              <p:custDataLst>
                <p:tags r:id="rId8"/>
              </p:custDataLst>
            </p:nvPr>
          </p:nvCxnSpPr>
          <p:spPr bwMode="gray">
            <a:xfrm rot="16200000" flipH="1">
              <a:off x="5112283" y="1374333"/>
              <a:ext cx="671546" cy="1347084"/>
            </a:xfrm>
            <a:prstGeom prst="bentConnector3">
              <a:avLst>
                <a:gd name="adj1" fmla="val 50000"/>
              </a:avLst>
            </a:prstGeom>
            <a:noFill/>
            <a:ln w="17272">
              <a:solidFill>
                <a:schemeClr val="accent2">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AutoShape 5"/>
            <p:cNvCxnSpPr>
              <a:cxnSpLocks noChangeShapeType="1"/>
              <a:stCxn id="8" idx="2"/>
              <a:endCxn id="11" idx="0"/>
            </p:cNvCxnSpPr>
            <p:nvPr>
              <p:custDataLst>
                <p:tags r:id="rId9"/>
              </p:custDataLst>
            </p:nvPr>
          </p:nvCxnSpPr>
          <p:spPr bwMode="gray">
            <a:xfrm rot="5400000">
              <a:off x="3937552" y="1546686"/>
              <a:ext cx="671547" cy="1002379"/>
            </a:xfrm>
            <a:prstGeom prst="bentConnector3">
              <a:avLst>
                <a:gd name="adj1" fmla="val 50000"/>
              </a:avLst>
            </a:prstGeom>
            <a:noFill/>
            <a:ln w="17272">
              <a:solidFill>
                <a:schemeClr val="accent2">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 name="Picture 2" descr="http://www07.abb.com/api/ir/getimage/36fb710b-54e0-4e53-8383-aacde553ec56/1"/>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998056" y="3157825"/>
              <a:ext cx="2247084" cy="1869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16"/>
            <p:cNvPicPr>
              <a:picLocks noChangeAspect="1"/>
            </p:cNvPicPr>
            <p:nvPr/>
          </p:nvPicPr>
          <p:blipFill rotWithShape="1">
            <a:blip r:embed="rId13" cstate="print">
              <a:extLst>
                <a:ext uri="{28A0092B-C50C-407E-A947-70E740481C1C}">
                  <a14:useLocalDpi xmlns:a14="http://schemas.microsoft.com/office/drawing/2010/main"/>
                </a:ext>
              </a:extLst>
            </a:blip>
            <a:srcRect l="1876" r="19788" b="25092"/>
            <a:stretch/>
          </p:blipFill>
          <p:spPr>
            <a:xfrm>
              <a:off x="2917892" y="3455083"/>
              <a:ext cx="1708485" cy="1275194"/>
            </a:xfrm>
            <a:prstGeom prst="rect">
              <a:avLst/>
            </a:prstGeom>
          </p:spPr>
        </p:pic>
        <p:pic>
          <p:nvPicPr>
            <p:cNvPr id="18" name="Picture 24"/>
            <p:cNvPicPr>
              <a:picLocks noChangeAspect="1" noChangeArrowheads="1"/>
            </p:cNvPicPr>
            <p:nvPr/>
          </p:nvPicPr>
          <p:blipFill>
            <a:blip r:embed="rId14" cstate="print">
              <a:extLst>
                <a:ext uri="{BEBA8EAE-BF5A-486C-A8C5-ECC9F3942E4B}">
                  <a14:imgProps xmlns:a14="http://schemas.microsoft.com/office/drawing/2010/main">
                    <a14:imgLayer r:embed="rId15">
                      <a14:imgEffect>
                        <a14:backgroundRemoval t="0" b="100000" l="0" r="84444"/>
                      </a14:imgEffect>
                    </a14:imgLayer>
                  </a14:imgProps>
                </a:ext>
                <a:ext uri="{28A0092B-C50C-407E-A947-70E740481C1C}">
                  <a14:useLocalDpi xmlns:a14="http://schemas.microsoft.com/office/drawing/2010/main"/>
                </a:ext>
              </a:extLst>
            </a:blip>
            <a:srcRect/>
            <a:stretch>
              <a:fillRect/>
            </a:stretch>
          </p:blipFill>
          <p:spPr bwMode="auto">
            <a:xfrm>
              <a:off x="7643251" y="3415109"/>
              <a:ext cx="1937195" cy="11327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Grafik 18"/>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08247" y="3455083"/>
              <a:ext cx="1878335" cy="1191598"/>
            </a:xfrm>
            <a:prstGeom prst="rect">
              <a:avLst/>
            </a:prstGeom>
          </p:spPr>
        </p:pic>
        <p:sp>
          <p:nvSpPr>
            <p:cNvPr id="20" name="Quelle"/>
            <p:cNvSpPr txBox="1">
              <a:spLocks noChangeArrowheads="1"/>
            </p:cNvSpPr>
            <p:nvPr/>
          </p:nvSpPr>
          <p:spPr bwMode="auto">
            <a:xfrm>
              <a:off x="7021598" y="5636276"/>
              <a:ext cx="9467850" cy="19043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DLR, Bosch, ABB, Automationtrends.com</a:t>
              </a:r>
            </a:p>
          </p:txBody>
        </p:sp>
      </p:grpSp>
    </p:spTree>
    <p:extLst>
      <p:ext uri="{BB962C8B-B14F-4D97-AF65-F5344CB8AC3E}">
        <p14:creationId xmlns:p14="http://schemas.microsoft.com/office/powerpoint/2010/main" val="2457845669"/>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249017"/>
            <a:ext cx="11973982" cy="687247"/>
          </a:xfrm>
        </p:spPr>
        <p:txBody>
          <a:bodyPr>
            <a:noAutofit/>
          </a:bodyPr>
          <a:lstStyle/>
          <a:p>
            <a:pPr>
              <a:lnSpc>
                <a:spcPct val="100000"/>
              </a:lnSpc>
            </a:pPr>
            <a:r>
              <a:rPr lang="de-DE" dirty="0"/>
              <a:t>Kraft- / </a:t>
            </a:r>
            <a:r>
              <a:rPr lang="de-DE" dirty="0" err="1"/>
              <a:t>Momentensensoren</a:t>
            </a:r>
            <a:r>
              <a:rPr lang="de-DE" dirty="0"/>
              <a:t> ermöglichen Robotersystemen Sensitivitäts- und Sicherheitsfunktionen</a:t>
            </a:r>
          </a:p>
        </p:txBody>
      </p:sp>
      <p:sp>
        <p:nvSpPr>
          <p:cNvPr id="3" name="Rectangle 8"/>
          <p:cNvSpPr>
            <a:spLocks noChangeArrowheads="1"/>
          </p:cNvSpPr>
          <p:nvPr/>
        </p:nvSpPr>
        <p:spPr bwMode="auto">
          <a:xfrm>
            <a:off x="624418" y="1492854"/>
            <a:ext cx="10731660" cy="4857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180000" bIns="0"/>
          <a:lstStyle/>
          <a:p>
            <a:pPr marL="355591" indent="-355591" fontAlgn="base">
              <a:spcBef>
                <a:spcPct val="30000"/>
              </a:spcBef>
              <a:buClr>
                <a:schemeClr val="tx1"/>
              </a:buClr>
              <a:buSzPct val="90000"/>
              <a:buFont typeface="Wingdings" pitchFamily="2" charset="2"/>
              <a:buChar char="n"/>
              <a:tabLst>
                <a:tab pos="355591" algn="l"/>
                <a:tab pos="842412" algn="l"/>
                <a:tab pos="1308067" algn="l"/>
              </a:tabLst>
            </a:pPr>
            <a:r>
              <a:rPr lang="de-DE" sz="2133" kern="0" dirty="0">
                <a:latin typeface="+mj-lt"/>
              </a:rPr>
              <a:t>Der Einsatz von Sensoren befähigt die Robotersysteme zur Messung von Kräften und Momenten sowie deren Steuerung</a:t>
            </a:r>
          </a:p>
          <a:p>
            <a:pPr marL="355591" indent="-355591" fontAlgn="base">
              <a:spcBef>
                <a:spcPct val="30000"/>
              </a:spcBef>
              <a:buClr>
                <a:schemeClr val="tx1"/>
              </a:buClr>
              <a:buSzPct val="90000"/>
              <a:buFont typeface="Wingdings" pitchFamily="2" charset="2"/>
              <a:buChar char="n"/>
              <a:tabLst>
                <a:tab pos="355591" algn="l"/>
                <a:tab pos="842412" algn="l"/>
                <a:tab pos="1308067" algn="l"/>
              </a:tabLst>
            </a:pPr>
            <a:r>
              <a:rPr lang="de-DE" sz="2133" kern="0" dirty="0">
                <a:latin typeface="+mj-lt"/>
              </a:rPr>
              <a:t>Ermittlung der Lastdaten des Robotersystems</a:t>
            </a:r>
          </a:p>
          <a:p>
            <a:pPr marL="355591" indent="-355591" fontAlgn="base">
              <a:spcBef>
                <a:spcPct val="30000"/>
              </a:spcBef>
              <a:buClr>
                <a:schemeClr val="tx1"/>
              </a:buClr>
              <a:buSzPct val="90000"/>
              <a:buFont typeface="Wingdings" pitchFamily="2" charset="2"/>
              <a:buChar char="n"/>
              <a:tabLst>
                <a:tab pos="355591" algn="l"/>
                <a:tab pos="842412" algn="l"/>
                <a:tab pos="1308067" algn="l"/>
              </a:tabLst>
            </a:pPr>
            <a:r>
              <a:rPr lang="de-DE" sz="2133" kern="0" dirty="0">
                <a:latin typeface="+mj-lt"/>
              </a:rPr>
              <a:t>Kraft-/ </a:t>
            </a:r>
            <a:r>
              <a:rPr lang="de-DE" sz="2133" kern="0" dirty="0" err="1">
                <a:latin typeface="+mj-lt"/>
              </a:rPr>
              <a:t>Momentensensoren</a:t>
            </a:r>
            <a:r>
              <a:rPr lang="de-DE" sz="2133" kern="0" dirty="0">
                <a:latin typeface="+mj-lt"/>
              </a:rPr>
              <a:t> können abhängig von der Integration in das Betriebssystem als interne und externe Sensoren in das Robotersystem eingebunden werden</a:t>
            </a:r>
          </a:p>
        </p:txBody>
      </p:sp>
      <p:sp>
        <p:nvSpPr>
          <p:cNvPr id="11" name="Quelle"/>
          <p:cNvSpPr txBox="1">
            <a:spLocks noChangeArrowheads="1"/>
          </p:cNvSpPr>
          <p:nvPr/>
        </p:nvSpPr>
        <p:spPr bwMode="auto">
          <a:xfrm>
            <a:off x="9366453" y="6508955"/>
            <a:ext cx="9467851"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de-DE" sz="1000" dirty="0">
                <a:latin typeface="+mj-lt"/>
              </a:rPr>
              <a:t>Bildquelle: DLR, Fanuc</a:t>
            </a:r>
          </a:p>
        </p:txBody>
      </p:sp>
      <p:pic>
        <p:nvPicPr>
          <p:cNvPr id="12" name="Grafik 11"/>
          <p:cNvPicPr>
            <a:picLocks noChangeAspect="1"/>
          </p:cNvPicPr>
          <p:nvPr/>
        </p:nvPicPr>
        <p:blipFill rotWithShape="1">
          <a:blip r:embed="rId3">
            <a:extLst>
              <a:ext uri="{28A0092B-C50C-407E-A947-70E740481C1C}">
                <a14:useLocalDpi xmlns:a14="http://schemas.microsoft.com/office/drawing/2010/main" val="0"/>
              </a:ext>
            </a:extLst>
          </a:blip>
          <a:srcRect l="27417" t="4582" r="35750" b="168"/>
          <a:stretch/>
        </p:blipFill>
        <p:spPr>
          <a:xfrm>
            <a:off x="8068063" y="3760385"/>
            <a:ext cx="1404179" cy="2420780"/>
          </a:xfrm>
          <a:prstGeom prst="rect">
            <a:avLst/>
          </a:prstGeom>
        </p:spPr>
      </p:pic>
      <p:pic>
        <p:nvPicPr>
          <p:cNvPr id="13" name="Picture 2" descr="http://www.designworldonline.com/uploads/Imagegallery/6DoF-IMU-from-SensorDynamic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45848" y="4939472"/>
            <a:ext cx="1391872" cy="12526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p:nvSpPr>
        <p:spPr>
          <a:xfrm>
            <a:off x="6117695" y="4342014"/>
            <a:ext cx="1840760" cy="646331"/>
          </a:xfrm>
          <a:prstGeom prst="rect">
            <a:avLst/>
          </a:prstGeom>
          <a:noFill/>
        </p:spPr>
        <p:txBody>
          <a:bodyPr wrap="none" rtlCol="0">
            <a:spAutoFit/>
          </a:bodyPr>
          <a:lstStyle/>
          <a:p>
            <a:r>
              <a:rPr lang="de-DE" dirty="0"/>
              <a:t>Externer Kraft-</a:t>
            </a:r>
          </a:p>
          <a:p>
            <a:r>
              <a:rPr lang="de-DE" dirty="0" err="1"/>
              <a:t>momentensensor</a:t>
            </a:r>
            <a:endParaRPr lang="de-DE" dirty="0"/>
          </a:p>
        </p:txBody>
      </p:sp>
      <p:sp>
        <p:nvSpPr>
          <p:cNvPr id="15" name="Rechteck 14"/>
          <p:cNvSpPr/>
          <p:nvPr/>
        </p:nvSpPr>
        <p:spPr bwMode="auto">
          <a:xfrm>
            <a:off x="7885563" y="5684814"/>
            <a:ext cx="1206500" cy="212597"/>
          </a:xfrm>
          <a:prstGeom prst="rect">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de-DE" dirty="0">
              <a:latin typeface="Arial" charset="0"/>
            </a:endParaRPr>
          </a:p>
        </p:txBody>
      </p:sp>
      <p:cxnSp>
        <p:nvCxnSpPr>
          <p:cNvPr id="16" name="Gerade Verbindung mit Pfeil 15"/>
          <p:cNvCxnSpPr/>
          <p:nvPr/>
        </p:nvCxnSpPr>
        <p:spPr bwMode="auto">
          <a:xfrm>
            <a:off x="7141048" y="5565815"/>
            <a:ext cx="967995" cy="225296"/>
          </a:xfrm>
          <a:prstGeom prst="straightConnector1">
            <a:avLst/>
          </a:prstGeom>
          <a:solidFill>
            <a:srgbClr val="DDDDDD"/>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 name="Gerader Verbinder 16"/>
          <p:cNvCxnSpPr/>
          <p:nvPr/>
        </p:nvCxnSpPr>
        <p:spPr bwMode="auto">
          <a:xfrm flipV="1">
            <a:off x="7437720" y="6023015"/>
            <a:ext cx="2524181" cy="0"/>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 name="Gerader Verbinder 17"/>
          <p:cNvCxnSpPr/>
          <p:nvPr/>
        </p:nvCxnSpPr>
        <p:spPr bwMode="auto">
          <a:xfrm flipH="1">
            <a:off x="8152367" y="606289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Gerader Verbinder 18"/>
          <p:cNvCxnSpPr/>
          <p:nvPr/>
        </p:nvCxnSpPr>
        <p:spPr bwMode="auto">
          <a:xfrm flipH="1">
            <a:off x="8383429" y="606289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Gerader Verbinder 19"/>
          <p:cNvCxnSpPr/>
          <p:nvPr/>
        </p:nvCxnSpPr>
        <p:spPr bwMode="auto">
          <a:xfrm flipH="1">
            <a:off x="8639039" y="606289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1" name="Gerader Verbinder 20"/>
          <p:cNvCxnSpPr/>
          <p:nvPr/>
        </p:nvCxnSpPr>
        <p:spPr bwMode="auto">
          <a:xfrm flipH="1">
            <a:off x="8870101" y="606289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r Verbinder 21"/>
          <p:cNvCxnSpPr/>
          <p:nvPr/>
        </p:nvCxnSpPr>
        <p:spPr bwMode="auto">
          <a:xfrm flipH="1">
            <a:off x="9135391" y="604562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 name="Gerader Verbinder 22"/>
          <p:cNvCxnSpPr/>
          <p:nvPr/>
        </p:nvCxnSpPr>
        <p:spPr bwMode="auto">
          <a:xfrm flipH="1">
            <a:off x="9366453" y="604562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Gerader Verbinder 23"/>
          <p:cNvCxnSpPr/>
          <p:nvPr/>
        </p:nvCxnSpPr>
        <p:spPr bwMode="auto">
          <a:xfrm flipH="1">
            <a:off x="7669279" y="606289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Gerader Verbinder 24"/>
          <p:cNvCxnSpPr/>
          <p:nvPr/>
        </p:nvCxnSpPr>
        <p:spPr bwMode="auto">
          <a:xfrm flipH="1">
            <a:off x="7900341" y="6062895"/>
            <a:ext cx="347071" cy="273051"/>
          </a:xfrm>
          <a:prstGeom prst="line">
            <a:avLst/>
          </a:prstGeom>
          <a:solidFill>
            <a:srgbClr val="DDDDDD"/>
          </a:solidFill>
          <a:ln w="381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6" name="Rechteck 25"/>
          <p:cNvSpPr/>
          <p:nvPr/>
        </p:nvSpPr>
        <p:spPr bwMode="auto">
          <a:xfrm>
            <a:off x="7141047" y="6199420"/>
            <a:ext cx="2820855" cy="302371"/>
          </a:xfrm>
          <a:prstGeom prst="rect">
            <a:avLst/>
          </a:prstGeom>
          <a:solidFill>
            <a:schemeClr val="bg1"/>
          </a:solidFill>
          <a:ln w="1079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de-DE" dirty="0">
              <a:latin typeface="Arial" charset="0"/>
            </a:endParaRPr>
          </a:p>
        </p:txBody>
      </p:sp>
      <p:sp>
        <p:nvSpPr>
          <p:cNvPr id="27" name="Rechteck 26"/>
          <p:cNvSpPr/>
          <p:nvPr/>
        </p:nvSpPr>
        <p:spPr bwMode="auto">
          <a:xfrm>
            <a:off x="7587001" y="6138809"/>
            <a:ext cx="2374899" cy="197137"/>
          </a:xfrm>
          <a:prstGeom prst="rect">
            <a:avLst/>
          </a:prstGeom>
          <a:solidFill>
            <a:schemeClr val="bg1"/>
          </a:solidFill>
          <a:ln w="1079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77" fontAlgn="base">
              <a:spcBef>
                <a:spcPct val="0"/>
              </a:spcBef>
              <a:spcAft>
                <a:spcPct val="0"/>
              </a:spcAft>
            </a:pPr>
            <a:endParaRPr lang="de-DE" dirty="0">
              <a:latin typeface="Arial" charset="0"/>
            </a:endParaRPr>
          </a:p>
        </p:txBody>
      </p:sp>
      <p:sp>
        <p:nvSpPr>
          <p:cNvPr id="28" name="Textfeld 27"/>
          <p:cNvSpPr txBox="1"/>
          <p:nvPr/>
        </p:nvSpPr>
        <p:spPr>
          <a:xfrm>
            <a:off x="7437720" y="6042977"/>
            <a:ext cx="2288640" cy="369332"/>
          </a:xfrm>
          <a:prstGeom prst="rect">
            <a:avLst/>
          </a:prstGeom>
          <a:noFill/>
        </p:spPr>
        <p:txBody>
          <a:bodyPr wrap="none" rtlCol="0">
            <a:spAutoFit/>
          </a:bodyPr>
          <a:lstStyle/>
          <a:p>
            <a:r>
              <a:rPr lang="de-DE" dirty="0"/>
              <a:t>Befestigung am Boden</a:t>
            </a:r>
          </a:p>
        </p:txBody>
      </p:sp>
      <p:pic>
        <p:nvPicPr>
          <p:cNvPr id="37" name="Grafik 36"/>
          <p:cNvPicPr>
            <a:picLocks noChangeAspect="1"/>
          </p:cNvPicPr>
          <p:nvPr/>
        </p:nvPicPr>
        <p:blipFill rotWithShape="1">
          <a:blip r:embed="rId5"/>
          <a:srcRect b="18491"/>
          <a:stretch/>
        </p:blipFill>
        <p:spPr>
          <a:xfrm>
            <a:off x="1794068" y="3965165"/>
            <a:ext cx="3493120" cy="2216001"/>
          </a:xfrm>
          <a:prstGeom prst="rect">
            <a:avLst/>
          </a:prstGeom>
        </p:spPr>
      </p:pic>
      <p:sp>
        <p:nvSpPr>
          <p:cNvPr id="38" name="Textfeld 37"/>
          <p:cNvSpPr txBox="1"/>
          <p:nvPr/>
        </p:nvSpPr>
        <p:spPr>
          <a:xfrm>
            <a:off x="1092420" y="5221649"/>
            <a:ext cx="1514838" cy="923330"/>
          </a:xfrm>
          <a:prstGeom prst="rect">
            <a:avLst/>
          </a:prstGeom>
          <a:noFill/>
        </p:spPr>
        <p:txBody>
          <a:bodyPr wrap="none" rtlCol="0">
            <a:spAutoFit/>
          </a:bodyPr>
          <a:lstStyle/>
          <a:p>
            <a:r>
              <a:rPr lang="de-DE" dirty="0"/>
              <a:t>Interner</a:t>
            </a:r>
          </a:p>
          <a:p>
            <a:r>
              <a:rPr lang="de-DE" dirty="0"/>
              <a:t>Drehmoment-</a:t>
            </a:r>
          </a:p>
          <a:p>
            <a:r>
              <a:rPr lang="de-DE" dirty="0" err="1"/>
              <a:t>sensor</a:t>
            </a:r>
            <a:endParaRPr lang="de-DE" dirty="0"/>
          </a:p>
        </p:txBody>
      </p:sp>
      <p:cxnSp>
        <p:nvCxnSpPr>
          <p:cNvPr id="41" name="Gerade Verbindung mit Pfeil 40"/>
          <p:cNvCxnSpPr>
            <a:stCxn id="38" idx="0"/>
          </p:cNvCxnSpPr>
          <p:nvPr/>
        </p:nvCxnSpPr>
        <p:spPr bwMode="auto">
          <a:xfrm flipV="1">
            <a:off x="1849839" y="4584537"/>
            <a:ext cx="439500" cy="637112"/>
          </a:xfrm>
          <a:prstGeom prst="straightConnector1">
            <a:avLst/>
          </a:prstGeom>
          <a:solidFill>
            <a:srgbClr val="DDDDDD"/>
          </a:solidFill>
          <a:ln w="38100" cap="flat" cmpd="sng" algn="ctr">
            <a:solidFill>
              <a:srgbClr val="0D5893"/>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 name="Fußzeilenplatzhalter 4"/>
          <p:cNvSpPr>
            <a:spLocks noGrp="1"/>
          </p:cNvSpPr>
          <p:nvPr>
            <p:ph type="ftr" sz="quarter" idx="15"/>
          </p:nvPr>
        </p:nvSpPr>
        <p:spPr/>
        <p:txBody>
          <a:bodyPr/>
          <a:lstStyle/>
          <a:p>
            <a:pPr defTabSz="582069"/>
            <a:r>
              <a:rPr lang="de-DE"/>
              <a:t>Automation II</a:t>
            </a:r>
            <a:endParaRPr lang="de-DE" dirty="0"/>
          </a:p>
        </p:txBody>
      </p:sp>
      <p:sp>
        <p:nvSpPr>
          <p:cNvPr id="6" name="Foliennummernplatzhalter 5"/>
          <p:cNvSpPr>
            <a:spLocks noGrp="1"/>
          </p:cNvSpPr>
          <p:nvPr>
            <p:ph type="sldNum" sz="quarter" idx="16"/>
          </p:nvPr>
        </p:nvSpPr>
        <p:spPr/>
        <p:txBody>
          <a:bodyPr/>
          <a:lstStyle/>
          <a:p>
            <a:fld id="{1E6235D0-FF99-C045-995D-75C61122D1C1}" type="slidenum">
              <a:rPr lang="de-DE" smtClean="0"/>
              <a:pPr/>
              <a:t>32</a:t>
            </a:fld>
            <a:endParaRPr lang="de-DE" dirty="0"/>
          </a:p>
        </p:txBody>
      </p:sp>
    </p:spTree>
    <p:extLst>
      <p:ext uri="{BB962C8B-B14F-4D97-AF65-F5344CB8AC3E}">
        <p14:creationId xmlns:p14="http://schemas.microsoft.com/office/powerpoint/2010/main" val="3097149474"/>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203201"/>
            <a:ext cx="10730231" cy="733063"/>
          </a:xfrm>
        </p:spPr>
        <p:txBody>
          <a:bodyPr>
            <a:noAutofit/>
          </a:bodyPr>
          <a:lstStyle/>
          <a:p>
            <a:pPr>
              <a:lnSpc>
                <a:spcPct val="100000"/>
              </a:lnSpc>
            </a:pPr>
            <a:r>
              <a:rPr lang="de-DE" dirty="0"/>
              <a:t>Interne Sensorik überwacht die aufgebrachten Motorströme in den Servomotoren des Roboters</a:t>
            </a:r>
          </a:p>
        </p:txBody>
      </p:sp>
      <p:sp>
        <p:nvSpPr>
          <p:cNvPr id="13" name="Quelle"/>
          <p:cNvSpPr txBox="1">
            <a:spLocks noChangeArrowheads="1"/>
          </p:cNvSpPr>
          <p:nvPr/>
        </p:nvSpPr>
        <p:spPr bwMode="auto">
          <a:xfrm>
            <a:off x="626534" y="7681059"/>
            <a:ext cx="10730229" cy="22666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1816" anchor="b" anchorCtr="0">
            <a:spAutoFit/>
          </a:bodyPr>
          <a:lstStyle/>
          <a:p>
            <a:pPr>
              <a:spcBef>
                <a:spcPct val="0"/>
              </a:spcBef>
              <a:spcAft>
                <a:spcPct val="0"/>
              </a:spcAft>
            </a:pPr>
            <a:r>
              <a:rPr lang="de-DE" sz="1133" dirty="0">
                <a:solidFill>
                  <a:schemeClr val="tx1">
                    <a:lumMod val="100000"/>
                  </a:schemeClr>
                </a:solidFill>
                <a:latin typeface="Arial" panose="020B0604020202020204" pitchFamily="34" charset="0"/>
              </a:rPr>
              <a:t>Bildquelle: KUKA</a:t>
            </a:r>
          </a:p>
        </p:txBody>
      </p:sp>
      <p:grpSp>
        <p:nvGrpSpPr>
          <p:cNvPr id="15" name="Gruppieren 14"/>
          <p:cNvGrpSpPr>
            <a:grpSpLocks/>
          </p:cNvGrpSpPr>
          <p:nvPr/>
        </p:nvGrpSpPr>
        <p:grpSpPr>
          <a:xfrm>
            <a:off x="626536" y="1060448"/>
            <a:ext cx="10730231" cy="5505451"/>
            <a:chOff x="214314" y="953603"/>
            <a:chExt cx="9467850" cy="4857750"/>
          </a:xfrm>
        </p:grpSpPr>
        <p:sp>
          <p:nvSpPr>
            <p:cNvPr id="17" name="Rectangle 3"/>
            <p:cNvSpPr txBox="1">
              <a:spLocks noChangeArrowheads="1"/>
            </p:cNvSpPr>
            <p:nvPr/>
          </p:nvSpPr>
          <p:spPr bwMode="auto">
            <a:xfrm>
              <a:off x="214314" y="953603"/>
              <a:ext cx="9467850" cy="4857750"/>
            </a:xfrm>
            <a:prstGeom prst="rect">
              <a:avLst/>
            </a:prstGeom>
            <a:noFill/>
            <a:ln>
              <a:noFill/>
            </a:ln>
            <a:effectLst/>
            <a:extLs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04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a:spcBef>
                  <a:spcPts val="300"/>
                </a:spcBef>
                <a:spcAft>
                  <a:spcPts val="300"/>
                </a:spcAft>
                <a:buClr>
                  <a:schemeClr val="tx1"/>
                </a:buClr>
              </a:pPr>
              <a:r>
                <a:rPr lang="de-DE" sz="2133" kern="0" dirty="0">
                  <a:latin typeface="+mj-lt"/>
                </a:rPr>
                <a:t>Synchronantriebe reagieren durch eine Anpassung des Antriebsmomentes auf von außen aufgebrachte Momente oder Kräfte</a:t>
              </a:r>
            </a:p>
            <a:p>
              <a:pPr>
                <a:spcBef>
                  <a:spcPts val="300"/>
                </a:spcBef>
                <a:spcAft>
                  <a:spcPts val="300"/>
                </a:spcAft>
                <a:buClr>
                  <a:schemeClr val="tx1"/>
                </a:buClr>
              </a:pPr>
              <a:r>
                <a:rPr lang="de-DE" sz="2133" kern="0" dirty="0">
                  <a:latin typeface="+mj-lt"/>
                </a:rPr>
                <a:t>Erwartetes Antriebsmoment kann a priori berechnet werden</a:t>
              </a:r>
            </a:p>
            <a:p>
              <a:pPr>
                <a:spcBef>
                  <a:spcPts val="300"/>
                </a:spcBef>
                <a:spcAft>
                  <a:spcPts val="300"/>
                </a:spcAft>
                <a:buClr>
                  <a:schemeClr val="tx1"/>
                </a:buClr>
              </a:pPr>
              <a:r>
                <a:rPr lang="de-DE" sz="2133" kern="0" dirty="0">
                  <a:latin typeface="+mj-lt"/>
                </a:rPr>
                <a:t>Bei zu großer Abweichung vom Sollwert wird von einer Kollision ausgegangen</a:t>
              </a:r>
            </a:p>
          </p:txBody>
        </p:sp>
        <p:grpSp>
          <p:nvGrpSpPr>
            <p:cNvPr id="18" name="Gruppieren 17"/>
            <p:cNvGrpSpPr/>
            <p:nvPr/>
          </p:nvGrpSpPr>
          <p:grpSpPr>
            <a:xfrm>
              <a:off x="490723" y="2283006"/>
              <a:ext cx="8494058" cy="3348705"/>
              <a:chOff x="492311" y="2283006"/>
              <a:chExt cx="8494058" cy="3348705"/>
            </a:xfrm>
          </p:grpSpPr>
          <p:pic>
            <p:nvPicPr>
              <p:cNvPr id="1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751" y="2283006"/>
                <a:ext cx="3316288" cy="270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6260" y="2283006"/>
                <a:ext cx="3297653" cy="2677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Kickerbox"/>
              <p:cNvSpPr txBox="1">
                <a:spLocks noChangeArrowheads="1"/>
              </p:cNvSpPr>
              <p:nvPr/>
            </p:nvSpPr>
            <p:spPr bwMode="gray">
              <a:xfrm>
                <a:off x="492311" y="5016199"/>
                <a:ext cx="8494058" cy="615512"/>
              </a:xfrm>
              <a:prstGeom prst="rect">
                <a:avLst/>
              </a:prstGeom>
              <a:noFill/>
              <a:ln w="18352">
                <a:solidFill>
                  <a:schemeClr val="accent2">
                    <a:lumMod val="50000"/>
                  </a:schemeClr>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03632" tIns="51816" rIns="103632" bIns="51816" anchor="b">
                <a:noAutofit/>
              </a:bodyPr>
              <a:lstStyle/>
              <a:p>
                <a:pPr algn="ctr"/>
                <a:r>
                  <a:rPr lang="de-DE" sz="1813" dirty="0"/>
                  <a:t>Bei Überschreitung eines erwarteten Motorstroms, durch Kollision einer Achse mit einem Gegenstand, stoppt der Roboter umgehend. </a:t>
                </a:r>
              </a:p>
            </p:txBody>
          </p:sp>
        </p:grpSp>
      </p:grpSp>
      <p:sp>
        <p:nvSpPr>
          <p:cNvPr id="4" name="Fußzeilenplatzhalter 3"/>
          <p:cNvSpPr>
            <a:spLocks noGrp="1"/>
          </p:cNvSpPr>
          <p:nvPr>
            <p:ph type="ftr" sz="quarter" idx="15"/>
          </p:nvPr>
        </p:nvSpPr>
        <p:spPr/>
        <p:txBody>
          <a:bodyPr/>
          <a:lstStyle/>
          <a:p>
            <a:pPr defTabSz="582069"/>
            <a:r>
              <a:rPr lang="de-DE"/>
              <a:t>Automation II</a:t>
            </a:r>
            <a:endParaRPr lang="de-DE" dirty="0"/>
          </a:p>
        </p:txBody>
      </p:sp>
      <p:sp>
        <p:nvSpPr>
          <p:cNvPr id="5" name="Foliennummernplatzhalter 4"/>
          <p:cNvSpPr>
            <a:spLocks noGrp="1"/>
          </p:cNvSpPr>
          <p:nvPr>
            <p:ph type="sldNum" sz="quarter" idx="16"/>
          </p:nvPr>
        </p:nvSpPr>
        <p:spPr/>
        <p:txBody>
          <a:bodyPr/>
          <a:lstStyle/>
          <a:p>
            <a:fld id="{1E6235D0-FF99-C045-995D-75C61122D1C1}" type="slidenum">
              <a:rPr lang="de-DE" smtClean="0"/>
              <a:pPr/>
              <a:t>33</a:t>
            </a:fld>
            <a:endParaRPr lang="de-DE" dirty="0"/>
          </a:p>
        </p:txBody>
      </p:sp>
    </p:spTree>
    <p:extLst>
      <p:ext uri="{BB962C8B-B14F-4D97-AF65-F5344CB8AC3E}">
        <p14:creationId xmlns:p14="http://schemas.microsoft.com/office/powerpoint/2010/main" val="25321977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191197"/>
            <a:ext cx="10348382" cy="745067"/>
          </a:xfrm>
        </p:spPr>
        <p:txBody>
          <a:bodyPr>
            <a:noAutofit/>
          </a:bodyPr>
          <a:lstStyle/>
          <a:p>
            <a:pPr>
              <a:lnSpc>
                <a:spcPct val="100000"/>
              </a:lnSpc>
            </a:pPr>
            <a:r>
              <a:rPr lang="de-DE" dirty="0"/>
              <a:t>Sicherheit in der Mensch-Roboter-Kooperation dank zweikanalig ausgeführter Sensorik im Roboter</a:t>
            </a:r>
          </a:p>
        </p:txBody>
      </p:sp>
      <p:sp>
        <p:nvSpPr>
          <p:cNvPr id="18" name="Fußzeilenplatzhalter 17"/>
          <p:cNvSpPr>
            <a:spLocks noGrp="1"/>
          </p:cNvSpPr>
          <p:nvPr>
            <p:ph type="ftr" sz="quarter" idx="15"/>
          </p:nvPr>
        </p:nvSpPr>
        <p:spPr/>
        <p:txBody>
          <a:bodyPr/>
          <a:lstStyle/>
          <a:p>
            <a:pPr defTabSz="582069"/>
            <a:r>
              <a:rPr lang="de-DE"/>
              <a:t>Automation II</a:t>
            </a:r>
            <a:endParaRPr lang="de-DE" dirty="0"/>
          </a:p>
        </p:txBody>
      </p:sp>
      <p:sp>
        <p:nvSpPr>
          <p:cNvPr id="19" name="Foliennummernplatzhalter 18"/>
          <p:cNvSpPr>
            <a:spLocks noGrp="1"/>
          </p:cNvSpPr>
          <p:nvPr>
            <p:ph type="sldNum" sz="quarter" idx="16"/>
          </p:nvPr>
        </p:nvSpPr>
        <p:spPr/>
        <p:txBody>
          <a:bodyPr/>
          <a:lstStyle/>
          <a:p>
            <a:fld id="{1E6235D0-FF99-C045-995D-75C61122D1C1}" type="slidenum">
              <a:rPr lang="de-DE" smtClean="0"/>
              <a:pPr/>
              <a:t>34</a:t>
            </a:fld>
            <a:endParaRPr lang="de-DE" dirty="0"/>
          </a:p>
        </p:txBody>
      </p:sp>
      <p:grpSp>
        <p:nvGrpSpPr>
          <p:cNvPr id="33" name="Gruppieren 32"/>
          <p:cNvGrpSpPr>
            <a:grpSpLocks/>
          </p:cNvGrpSpPr>
          <p:nvPr/>
        </p:nvGrpSpPr>
        <p:grpSpPr>
          <a:xfrm>
            <a:off x="666582" y="1149675"/>
            <a:ext cx="11226951" cy="5548705"/>
            <a:chOff x="0" y="783770"/>
            <a:chExt cx="11006814" cy="5439910"/>
          </a:xfrm>
        </p:grpSpPr>
        <p:pic>
          <p:nvPicPr>
            <p:cNvPr id="3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312" b="2245"/>
            <a:stretch/>
          </p:blipFill>
          <p:spPr bwMode="auto">
            <a:xfrm>
              <a:off x="217488" y="783770"/>
              <a:ext cx="7762730" cy="5084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chteck 34"/>
            <p:cNvSpPr/>
            <p:nvPr/>
          </p:nvSpPr>
          <p:spPr bwMode="auto">
            <a:xfrm>
              <a:off x="3420094" y="1033152"/>
              <a:ext cx="5082637" cy="2042557"/>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37" name="Rechteck 36"/>
            <p:cNvSpPr/>
            <p:nvPr/>
          </p:nvSpPr>
          <p:spPr bwMode="auto">
            <a:xfrm>
              <a:off x="5437415" y="2955471"/>
              <a:ext cx="2534639" cy="1110343"/>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38" name="Rechteck 37"/>
            <p:cNvSpPr/>
            <p:nvPr/>
          </p:nvSpPr>
          <p:spPr bwMode="auto">
            <a:xfrm rot="5400000">
              <a:off x="4765586" y="5064218"/>
              <a:ext cx="1445709" cy="102052"/>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39" name="Rechteck 38"/>
            <p:cNvSpPr/>
            <p:nvPr/>
          </p:nvSpPr>
          <p:spPr bwMode="auto">
            <a:xfrm rot="5400000">
              <a:off x="5175310" y="3979194"/>
              <a:ext cx="611298" cy="102052"/>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40" name="Textfeld 39"/>
            <p:cNvSpPr txBox="1"/>
            <p:nvPr/>
          </p:nvSpPr>
          <p:spPr>
            <a:xfrm>
              <a:off x="6049955" y="3524984"/>
              <a:ext cx="1254218" cy="415827"/>
            </a:xfrm>
            <a:prstGeom prst="rect">
              <a:avLst/>
            </a:prstGeom>
            <a:noFill/>
          </p:spPr>
          <p:txBody>
            <a:bodyPr wrap="square" lIns="93269" tIns="46635" rIns="93269" bIns="46635" rtlCol="0">
              <a:spAutoFit/>
            </a:bodyPr>
            <a:lstStyle/>
            <a:p>
              <a:pPr algn="ctr"/>
              <a:r>
                <a:rPr lang="de-DE" sz="1072" b="1" u="sng" dirty="0" err="1"/>
                <a:t>Application-Specific</a:t>
              </a:r>
              <a:r>
                <a:rPr lang="de-DE" sz="1072" b="1" u="sng" dirty="0"/>
                <a:t> Devices</a:t>
              </a:r>
            </a:p>
          </p:txBody>
        </p:sp>
        <p:sp>
          <p:nvSpPr>
            <p:cNvPr id="41" name="Textfeld 40"/>
            <p:cNvSpPr txBox="1"/>
            <p:nvPr/>
          </p:nvSpPr>
          <p:spPr>
            <a:xfrm>
              <a:off x="3727810" y="2629434"/>
              <a:ext cx="1254218" cy="415827"/>
            </a:xfrm>
            <a:prstGeom prst="rect">
              <a:avLst/>
            </a:prstGeom>
            <a:noFill/>
          </p:spPr>
          <p:txBody>
            <a:bodyPr wrap="square" lIns="93269" tIns="46635" rIns="93269" bIns="46635" rtlCol="0">
              <a:spAutoFit/>
            </a:bodyPr>
            <a:lstStyle/>
            <a:p>
              <a:pPr algn="ctr"/>
              <a:r>
                <a:rPr lang="de-DE" sz="1072" b="1" u="sng" dirty="0"/>
                <a:t>Monitoring &amp; </a:t>
              </a:r>
              <a:r>
                <a:rPr lang="de-DE" sz="1072" b="1" u="sng" dirty="0" err="1"/>
                <a:t>Safety</a:t>
              </a:r>
              <a:endParaRPr lang="de-DE" sz="1072" b="1" u="sng" dirty="0"/>
            </a:p>
          </p:txBody>
        </p:sp>
        <p:sp>
          <p:nvSpPr>
            <p:cNvPr id="42" name="Textfeld 41"/>
            <p:cNvSpPr txBox="1"/>
            <p:nvPr/>
          </p:nvSpPr>
          <p:spPr>
            <a:xfrm>
              <a:off x="86864" y="783770"/>
              <a:ext cx="881000" cy="254081"/>
            </a:xfrm>
            <a:prstGeom prst="rect">
              <a:avLst/>
            </a:prstGeom>
            <a:noFill/>
          </p:spPr>
          <p:txBody>
            <a:bodyPr wrap="square" lIns="93269" tIns="46635" rIns="93269" bIns="46635" rtlCol="0">
              <a:spAutoFit/>
            </a:bodyPr>
            <a:lstStyle/>
            <a:p>
              <a:pPr algn="ctr"/>
              <a:r>
                <a:rPr lang="de-DE" sz="1072" b="1" u="sng" dirty="0" err="1"/>
                <a:t>Functional</a:t>
              </a:r>
              <a:endParaRPr lang="de-DE" sz="1072" b="1" u="sng" dirty="0"/>
            </a:p>
          </p:txBody>
        </p:sp>
        <p:sp>
          <p:nvSpPr>
            <p:cNvPr id="43" name="Rechteck 42"/>
            <p:cNvSpPr/>
            <p:nvPr/>
          </p:nvSpPr>
          <p:spPr bwMode="auto">
            <a:xfrm>
              <a:off x="5454425" y="783770"/>
              <a:ext cx="45719" cy="253916"/>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44" name="Rechteck 43"/>
            <p:cNvSpPr/>
            <p:nvPr/>
          </p:nvSpPr>
          <p:spPr bwMode="auto">
            <a:xfrm>
              <a:off x="1091952" y="5756636"/>
              <a:ext cx="318102" cy="129853"/>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45" name="Rechteck 44"/>
            <p:cNvSpPr/>
            <p:nvPr/>
          </p:nvSpPr>
          <p:spPr bwMode="auto">
            <a:xfrm rot="16200000">
              <a:off x="-387829" y="2875101"/>
              <a:ext cx="1353787" cy="206729"/>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Maintenance Bus</a:t>
              </a:r>
            </a:p>
          </p:txBody>
        </p:sp>
        <p:sp>
          <p:nvSpPr>
            <p:cNvPr id="46" name="Rechteck 45"/>
            <p:cNvSpPr/>
            <p:nvPr/>
          </p:nvSpPr>
          <p:spPr bwMode="auto">
            <a:xfrm>
              <a:off x="421884" y="2359835"/>
              <a:ext cx="739315" cy="108452"/>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Controller</a:t>
              </a:r>
            </a:p>
          </p:txBody>
        </p:sp>
        <p:sp>
          <p:nvSpPr>
            <p:cNvPr id="47" name="Rechteck 46"/>
            <p:cNvSpPr/>
            <p:nvPr/>
          </p:nvSpPr>
          <p:spPr bwMode="auto">
            <a:xfrm>
              <a:off x="0" y="1067898"/>
              <a:ext cx="916010" cy="237506"/>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Force/ </a:t>
              </a:r>
              <a:r>
                <a:rPr lang="de-DE" sz="917" dirty="0" err="1">
                  <a:latin typeface="Arial" charset="0"/>
                </a:rPr>
                <a:t>Torque</a:t>
              </a:r>
              <a:endParaRPr lang="de-DE" sz="917" dirty="0">
                <a:latin typeface="Arial" charset="0"/>
              </a:endParaRPr>
            </a:p>
            <a:p>
              <a:pPr algn="ctr" defTabSz="1219170" fontAlgn="base">
                <a:spcBef>
                  <a:spcPct val="0"/>
                </a:spcBef>
                <a:spcAft>
                  <a:spcPct val="0"/>
                </a:spcAft>
              </a:pPr>
              <a:r>
                <a:rPr lang="de-DE" sz="917" dirty="0">
                  <a:latin typeface="Arial" charset="0"/>
                </a:rPr>
                <a:t>Sensor</a:t>
              </a:r>
            </a:p>
          </p:txBody>
        </p:sp>
        <p:sp>
          <p:nvSpPr>
            <p:cNvPr id="48" name="Rechteck 47"/>
            <p:cNvSpPr/>
            <p:nvPr/>
          </p:nvSpPr>
          <p:spPr bwMode="auto">
            <a:xfrm>
              <a:off x="424217" y="3432358"/>
              <a:ext cx="768262" cy="269927"/>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Axis Power Electronics</a:t>
              </a:r>
            </a:p>
          </p:txBody>
        </p:sp>
        <p:sp>
          <p:nvSpPr>
            <p:cNvPr id="49" name="Rechteck 48"/>
            <p:cNvSpPr/>
            <p:nvPr/>
          </p:nvSpPr>
          <p:spPr bwMode="auto">
            <a:xfrm>
              <a:off x="1323103" y="3397971"/>
              <a:ext cx="784165" cy="312265"/>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Axis Brake</a:t>
              </a:r>
            </a:p>
          </p:txBody>
        </p:sp>
        <p:sp>
          <p:nvSpPr>
            <p:cNvPr id="50" name="Rechteck 49"/>
            <p:cNvSpPr/>
            <p:nvPr/>
          </p:nvSpPr>
          <p:spPr bwMode="auto">
            <a:xfrm>
              <a:off x="1383300" y="3243244"/>
              <a:ext cx="762389" cy="151914"/>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Power off</a:t>
              </a:r>
            </a:p>
          </p:txBody>
        </p:sp>
        <p:sp>
          <p:nvSpPr>
            <p:cNvPr id="51" name="Rechteck 50"/>
            <p:cNvSpPr/>
            <p:nvPr/>
          </p:nvSpPr>
          <p:spPr bwMode="auto">
            <a:xfrm>
              <a:off x="441604" y="4109967"/>
              <a:ext cx="341906" cy="198312"/>
            </a:xfrm>
            <a:prstGeom prst="rect">
              <a:avLst/>
            </a:prstGeom>
            <a:solidFill>
              <a:schemeClr val="bg1"/>
            </a:solidFill>
            <a:ln w="8258" cap="flat" cmpd="sng" algn="ctr">
              <a:solidFill>
                <a:schemeClr val="bg1"/>
              </a:solid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52" name="Rechteck 51"/>
            <p:cNvSpPr/>
            <p:nvPr/>
          </p:nvSpPr>
          <p:spPr bwMode="auto">
            <a:xfrm>
              <a:off x="308472" y="4035309"/>
              <a:ext cx="641389" cy="312462"/>
            </a:xfrm>
            <a:prstGeom prst="rect">
              <a:avLst/>
            </a:prstGeom>
            <a:no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Motor </a:t>
              </a:r>
              <a:r>
                <a:rPr lang="de-DE" sz="917" dirty="0" err="1">
                  <a:latin typeface="Arial" charset="0"/>
                </a:rPr>
                <a:t>Resolver</a:t>
              </a:r>
              <a:endParaRPr lang="de-DE" sz="917" dirty="0">
                <a:latin typeface="Arial" charset="0"/>
              </a:endParaRPr>
            </a:p>
          </p:txBody>
        </p:sp>
        <p:sp>
          <p:nvSpPr>
            <p:cNvPr id="53" name="Rechteck 52"/>
            <p:cNvSpPr/>
            <p:nvPr/>
          </p:nvSpPr>
          <p:spPr bwMode="auto">
            <a:xfrm rot="16200000">
              <a:off x="2577683" y="2198207"/>
              <a:ext cx="1411545" cy="206729"/>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Command &amp; </a:t>
              </a:r>
              <a:r>
                <a:rPr lang="de-DE" sz="917" dirty="0" err="1">
                  <a:latin typeface="Arial" charset="0"/>
                </a:rPr>
                <a:t>Safety</a:t>
              </a:r>
              <a:r>
                <a:rPr lang="de-DE" sz="917" dirty="0">
                  <a:latin typeface="Arial" charset="0"/>
                </a:rPr>
                <a:t> Bus</a:t>
              </a:r>
            </a:p>
          </p:txBody>
        </p:sp>
        <mc:AlternateContent xmlns:mc="http://schemas.openxmlformats.org/markup-compatibility/2006" xmlns:a14="http://schemas.microsoft.com/office/drawing/2010/main">
          <mc:Choice Requires="a14">
            <p:sp>
              <p:nvSpPr>
                <p:cNvPr id="54" name="Rechteck 53"/>
                <p:cNvSpPr/>
                <p:nvPr/>
              </p:nvSpPr>
              <p:spPr bwMode="auto">
                <a:xfrm>
                  <a:off x="3330382" y="799928"/>
                  <a:ext cx="918100" cy="217066"/>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Dual Core</a:t>
                  </a:r>
                </a:p>
                <a:p>
                  <a:pPr algn="ctr" defTabSz="1219170" fontAlgn="base">
                    <a:spcBef>
                      <a:spcPct val="0"/>
                    </a:spcBef>
                    <a:spcAft>
                      <a:spcPct val="0"/>
                    </a:spcAft>
                  </a:pPr>
                  <a:r>
                    <a:rPr lang="de-DE" sz="917" dirty="0">
                      <a:latin typeface="Arial" charset="0"/>
                    </a:rPr>
                    <a:t>Monitoring </a:t>
                  </a:r>
                  <a14:m>
                    <m:oMath xmlns:m="http://schemas.openxmlformats.org/officeDocument/2006/math">
                      <m:r>
                        <a:rPr lang="de-DE" sz="701" i="1">
                          <a:latin typeface="Cambria Math" panose="02040503050406030204" pitchFamily="18" charset="0"/>
                          <a:ea typeface="Cambria Math" panose="02040503050406030204" pitchFamily="18" charset="0"/>
                        </a:rPr>
                        <m:t>𝜇</m:t>
                      </m:r>
                      <m:r>
                        <a:rPr lang="de-DE" sz="701" i="1">
                          <a:latin typeface="Cambria Math" panose="02040503050406030204" pitchFamily="18" charset="0"/>
                          <a:ea typeface="Cambria Math" panose="02040503050406030204" pitchFamily="18" charset="0"/>
                        </a:rPr>
                        <m:t>𝐶</m:t>
                      </m:r>
                    </m:oMath>
                  </a14:m>
                  <a:endParaRPr lang="de-DE" sz="701" dirty="0">
                    <a:latin typeface="Arial" charset="0"/>
                  </a:endParaRPr>
                </a:p>
              </p:txBody>
            </p:sp>
          </mc:Choice>
          <mc:Fallback xmlns="">
            <p:sp>
              <p:nvSpPr>
                <p:cNvPr id="54" name="Rechteck 53"/>
                <p:cNvSpPr>
                  <a:spLocks noRot="1" noChangeAspect="1" noMove="1" noResize="1" noEditPoints="1" noAdjustHandles="1" noChangeArrowheads="1" noChangeShapeType="1" noTextEdit="1"/>
                </p:cNvSpPr>
                <p:nvPr/>
              </p:nvSpPr>
              <p:spPr bwMode="auto">
                <a:xfrm>
                  <a:off x="3330382" y="799928"/>
                  <a:ext cx="918100" cy="217066"/>
                </a:xfrm>
                <a:prstGeom prst="rect">
                  <a:avLst/>
                </a:prstGeom>
                <a:blipFill>
                  <a:blip r:embed="rId4"/>
                  <a:stretch>
                    <a:fillRect t="-33333" b="-44444"/>
                  </a:stretch>
                </a:blipFill>
                <a:ln w="10795" cap="flat" cmpd="sng" algn="ctr">
                  <a:noFill/>
                  <a:prstDash val="solid"/>
                  <a:round/>
                  <a:headEnd type="none" w="med" len="med"/>
                  <a:tailEnd type="none" w="med" len="med"/>
                </a:ln>
                <a:effectLst/>
                <a:extLst/>
              </p:spPr>
              <p:txBody>
                <a:bodyPr/>
                <a:lstStyle/>
                <a:p>
                  <a:r>
                    <a:rPr lang="de-DE">
                      <a:noFill/>
                    </a:rPr>
                    <a:t> </a:t>
                  </a:r>
                </a:p>
              </p:txBody>
            </p:sp>
          </mc:Fallback>
        </mc:AlternateContent>
        <p:sp>
          <p:nvSpPr>
            <p:cNvPr id="55" name="Rechteck 54"/>
            <p:cNvSpPr/>
            <p:nvPr/>
          </p:nvSpPr>
          <p:spPr bwMode="auto">
            <a:xfrm>
              <a:off x="7304174" y="4030220"/>
              <a:ext cx="918969" cy="580924"/>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err="1">
                  <a:latin typeface="Arial" charset="0"/>
                </a:rPr>
                <a:t>Application</a:t>
              </a:r>
              <a:endParaRPr lang="de-DE" sz="917" dirty="0">
                <a:latin typeface="Arial" charset="0"/>
              </a:endParaRPr>
            </a:p>
            <a:p>
              <a:pPr algn="ctr" defTabSz="1219170" fontAlgn="base">
                <a:spcBef>
                  <a:spcPct val="0"/>
                </a:spcBef>
                <a:spcAft>
                  <a:spcPct val="0"/>
                </a:spcAft>
              </a:pPr>
              <a:r>
                <a:rPr lang="de-DE" sz="917" dirty="0">
                  <a:latin typeface="Arial" charset="0"/>
                </a:rPr>
                <a:t>Emergency</a:t>
              </a:r>
            </a:p>
            <a:p>
              <a:pPr algn="ctr" defTabSz="1219170" fontAlgn="base">
                <a:spcBef>
                  <a:spcPct val="0"/>
                </a:spcBef>
                <a:spcAft>
                  <a:spcPct val="0"/>
                </a:spcAft>
              </a:pPr>
              <a:r>
                <a:rPr lang="de-DE" sz="917" dirty="0" err="1">
                  <a:latin typeface="Arial" charset="0"/>
                </a:rPr>
                <a:t>Stop</a:t>
              </a:r>
              <a:r>
                <a:rPr lang="de-DE" sz="917" dirty="0">
                  <a:latin typeface="Arial" charset="0"/>
                </a:rPr>
                <a:t> Button</a:t>
              </a:r>
            </a:p>
            <a:p>
              <a:pPr algn="ctr" defTabSz="1219170" fontAlgn="base">
                <a:spcBef>
                  <a:spcPct val="0"/>
                </a:spcBef>
                <a:spcAft>
                  <a:spcPct val="0"/>
                </a:spcAft>
              </a:pPr>
              <a:r>
                <a:rPr lang="de-DE" sz="917" dirty="0">
                  <a:latin typeface="Arial" charset="0"/>
                </a:rPr>
                <a:t> (1 </a:t>
              </a:r>
              <a:r>
                <a:rPr lang="de-DE" sz="917" dirty="0" err="1">
                  <a:latin typeface="Arial" charset="0"/>
                </a:rPr>
                <a:t>or</a:t>
              </a:r>
              <a:r>
                <a:rPr lang="de-DE" sz="917" dirty="0">
                  <a:latin typeface="Arial" charset="0"/>
                </a:rPr>
                <a:t> </a:t>
              </a:r>
              <a:r>
                <a:rPr lang="de-DE" sz="917" dirty="0" err="1">
                  <a:latin typeface="Arial" charset="0"/>
                </a:rPr>
                <a:t>more</a:t>
              </a:r>
              <a:r>
                <a:rPr lang="de-DE" sz="917" dirty="0">
                  <a:latin typeface="Arial" charset="0"/>
                </a:rPr>
                <a:t>)</a:t>
              </a:r>
            </a:p>
          </p:txBody>
        </p:sp>
        <p:sp>
          <p:nvSpPr>
            <p:cNvPr id="56" name="Rechteck 55"/>
            <p:cNvSpPr/>
            <p:nvPr/>
          </p:nvSpPr>
          <p:spPr bwMode="auto">
            <a:xfrm>
              <a:off x="5553723" y="5178409"/>
              <a:ext cx="1206119" cy="580924"/>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err="1">
                  <a:latin typeface="Arial" charset="0"/>
                </a:rPr>
                <a:t>Application</a:t>
              </a:r>
              <a:r>
                <a:rPr lang="de-DE" sz="917" dirty="0">
                  <a:latin typeface="Arial" charset="0"/>
                </a:rPr>
                <a:t> </a:t>
              </a:r>
              <a:r>
                <a:rPr lang="de-DE" sz="917" dirty="0" err="1">
                  <a:latin typeface="Arial" charset="0"/>
                </a:rPr>
                <a:t>Safety</a:t>
              </a:r>
              <a:r>
                <a:rPr lang="de-DE" sz="917" dirty="0">
                  <a:latin typeface="Arial" charset="0"/>
                </a:rPr>
                <a:t> Devices (e.g. light </a:t>
              </a:r>
              <a:r>
                <a:rPr lang="de-DE" sz="917" dirty="0" err="1">
                  <a:latin typeface="Arial" charset="0"/>
                </a:rPr>
                <a:t>cutain</a:t>
              </a:r>
              <a:r>
                <a:rPr lang="de-DE" sz="917" dirty="0">
                  <a:latin typeface="Arial" charset="0"/>
                </a:rPr>
                <a:t>, </a:t>
              </a:r>
              <a:r>
                <a:rPr lang="de-DE" sz="917" dirty="0" err="1">
                  <a:latin typeface="Arial" charset="0"/>
                </a:rPr>
                <a:t>guards</a:t>
              </a:r>
              <a:r>
                <a:rPr lang="de-DE" sz="917" dirty="0">
                  <a:latin typeface="Arial" charset="0"/>
                </a:rPr>
                <a:t>, </a:t>
              </a:r>
              <a:r>
                <a:rPr lang="de-DE" sz="917" dirty="0" err="1">
                  <a:latin typeface="Arial" charset="0"/>
                </a:rPr>
                <a:t>laser</a:t>
              </a:r>
              <a:r>
                <a:rPr lang="de-DE" sz="917" dirty="0">
                  <a:latin typeface="Arial" charset="0"/>
                </a:rPr>
                <a:t>, </a:t>
              </a:r>
              <a:r>
                <a:rPr lang="de-DE" sz="917" dirty="0" err="1">
                  <a:latin typeface="Arial" charset="0"/>
                </a:rPr>
                <a:t>scanners</a:t>
              </a:r>
              <a:r>
                <a:rPr lang="de-DE" sz="917" dirty="0">
                  <a:latin typeface="Arial" charset="0"/>
                </a:rPr>
                <a:t>,…)</a:t>
              </a:r>
            </a:p>
          </p:txBody>
        </p:sp>
        <p:sp>
          <p:nvSpPr>
            <p:cNvPr id="57" name="Rechteck 56"/>
            <p:cNvSpPr/>
            <p:nvPr/>
          </p:nvSpPr>
          <p:spPr bwMode="auto">
            <a:xfrm rot="16200000">
              <a:off x="4645425" y="5393770"/>
              <a:ext cx="876907" cy="105334"/>
            </a:xfrm>
            <a:prstGeom prst="rect">
              <a:avLst/>
            </a:prstGeom>
            <a:solidFill>
              <a:schemeClr val="bg1"/>
            </a:solidFill>
            <a:ln w="8258" cap="flat" cmpd="sng" algn="ctr">
              <a:solidFill>
                <a:schemeClr val="bg1"/>
              </a:solidFill>
              <a:prstDash val="solid"/>
              <a:round/>
              <a:headEnd type="none" w="med" len="med"/>
              <a:tailEnd type="none" w="med" len="med"/>
            </a:ln>
            <a:effectLst/>
          </p:spPr>
          <p:txBody>
            <a:bodyPr vert="horz" wrap="square" lIns="93269" tIns="46635" rIns="93269" bIns="46635"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58" name="Rechteck 57"/>
            <p:cNvSpPr/>
            <p:nvPr/>
          </p:nvSpPr>
          <p:spPr bwMode="auto">
            <a:xfrm rot="16200000">
              <a:off x="4521091" y="5370307"/>
              <a:ext cx="1125573" cy="152259"/>
            </a:xfrm>
            <a:prstGeom prst="rect">
              <a:avLst/>
            </a:prstGeom>
            <a:no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err="1">
                  <a:latin typeface="Arial" charset="0"/>
                </a:rPr>
                <a:t>Safety</a:t>
              </a:r>
              <a:r>
                <a:rPr lang="de-DE" sz="917" dirty="0">
                  <a:latin typeface="Arial" charset="0"/>
                </a:rPr>
                <a:t> Controllers</a:t>
              </a:r>
            </a:p>
          </p:txBody>
        </p:sp>
        <p:sp>
          <p:nvSpPr>
            <p:cNvPr id="59" name="Rechteck 58"/>
            <p:cNvSpPr/>
            <p:nvPr/>
          </p:nvSpPr>
          <p:spPr bwMode="auto">
            <a:xfrm>
              <a:off x="3479775" y="4995975"/>
              <a:ext cx="1052469" cy="130375"/>
            </a:xfrm>
            <a:prstGeom prst="rect">
              <a:avLst/>
            </a:prstGeom>
            <a:solidFill>
              <a:schemeClr val="bg1"/>
            </a:solidFill>
            <a:ln w="10795" cap="flat" cmpd="sng" algn="ctr">
              <a:noFill/>
              <a:prstDash val="solid"/>
              <a:round/>
              <a:headEnd type="none" w="med" len="med"/>
              <a:tailEnd type="none" w="med" len="med"/>
            </a:ln>
            <a:effectLst/>
          </p:spPr>
          <p:txBody>
            <a:bodyPr vert="horz" wrap="square" lIns="93269" tIns="46635" rIns="93269" bIns="46635" numCol="1" rtlCol="0" anchor="ctr" anchorCtr="0" compatLnSpc="1">
              <a:prstTxWarp prst="textNoShape">
                <a:avLst/>
              </a:prstTxWarp>
            </a:bodyPr>
            <a:lstStyle/>
            <a:p>
              <a:pPr algn="ctr" defTabSz="1219170" fontAlgn="base">
                <a:spcBef>
                  <a:spcPct val="0"/>
                </a:spcBef>
                <a:spcAft>
                  <a:spcPct val="0"/>
                </a:spcAft>
              </a:pPr>
              <a:r>
                <a:rPr lang="de-DE" sz="917" dirty="0">
                  <a:latin typeface="Arial" charset="0"/>
                </a:rPr>
                <a:t>Quad Core CPU</a:t>
              </a:r>
            </a:p>
          </p:txBody>
        </p:sp>
        <p:sp>
          <p:nvSpPr>
            <p:cNvPr id="60" name="Quelle"/>
            <p:cNvSpPr txBox="1">
              <a:spLocks noChangeArrowheads="1"/>
            </p:cNvSpPr>
            <p:nvPr/>
          </p:nvSpPr>
          <p:spPr bwMode="auto">
            <a:xfrm>
              <a:off x="8594454" y="6024530"/>
              <a:ext cx="1236962" cy="19915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a:t>
              </a:r>
              <a:r>
                <a:rPr lang="de-DE" sz="1000" dirty="0" err="1"/>
                <a:t>Gomtec</a:t>
              </a:r>
              <a:endParaRPr lang="de-DE" sz="1000" dirty="0"/>
            </a:p>
          </p:txBody>
        </p:sp>
        <p:sp>
          <p:nvSpPr>
            <p:cNvPr id="36" name="Textfeld 35"/>
            <p:cNvSpPr txBox="1"/>
            <p:nvPr/>
          </p:nvSpPr>
          <p:spPr>
            <a:xfrm>
              <a:off x="4851400" y="870411"/>
              <a:ext cx="6155414" cy="2862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3600" bIns="0" numCol="1" anchor="t" anchorCtr="0" compatLnSpc="1">
              <a:prstTxWarp prst="textNoShape">
                <a:avLst/>
              </a:prstTxWarp>
            </a:bodyPr>
            <a:lstStyle>
              <a:defPPr>
                <a:defRPr lang="de-DE"/>
              </a:defPPr>
              <a:lvl1pPr marL="266700" indent="-266700" fontAlgn="base">
                <a:spcBef>
                  <a:spcPct val="30000"/>
                </a:spcBef>
                <a:spcAft>
                  <a:spcPct val="20000"/>
                </a:spcAft>
                <a:buClr>
                  <a:schemeClr val="accent2"/>
                </a:buClr>
                <a:buSzPct val="90000"/>
                <a:buFont typeface="Wingdings" pitchFamily="2" charset="2"/>
                <a:buChar char="n"/>
                <a:tabLst>
                  <a:tab pos="266700" algn="l"/>
                  <a:tab pos="631825" algn="l"/>
                  <a:tab pos="981075" algn="l"/>
                </a:tabLst>
              </a:lvl1pPr>
              <a:lvl2pPr marL="631825" indent="-185738" fontAlgn="base">
                <a:spcBef>
                  <a:spcPct val="0"/>
                </a:spcBef>
                <a:spcAft>
                  <a:spcPct val="20000"/>
                </a:spcAft>
                <a:buClr>
                  <a:schemeClr val="tx1"/>
                </a:buClr>
                <a:buFont typeface="Arial" charset="0"/>
                <a:buChar char="–"/>
                <a:tabLst>
                  <a:tab pos="266700" algn="l"/>
                  <a:tab pos="631825" algn="l"/>
                  <a:tab pos="981075" algn="l"/>
                </a:tabLst>
                <a:defRPr sz="1600"/>
              </a:lvl2pPr>
              <a:lvl3pPr marL="981075" indent="-169863" fontAlgn="base">
                <a:spcBef>
                  <a:spcPct val="0"/>
                </a:spcBef>
                <a:spcAft>
                  <a:spcPct val="20000"/>
                </a:spcAft>
                <a:buClr>
                  <a:schemeClr val="tx1"/>
                </a:buClr>
                <a:buFont typeface="Wingdings" pitchFamily="2" charset="2"/>
                <a:buChar char="§"/>
                <a:tabLst>
                  <a:tab pos="266700" algn="l"/>
                  <a:tab pos="631825" algn="l"/>
                  <a:tab pos="981075" algn="l"/>
                </a:tabLst>
                <a:defRPr sz="1600"/>
              </a:lvl3pPr>
              <a:lvl4pPr marL="1431925" indent="-173038" fontAlgn="base">
                <a:spcBef>
                  <a:spcPct val="0"/>
                </a:spcBef>
                <a:spcAft>
                  <a:spcPct val="20000"/>
                </a:spcAft>
                <a:buClr>
                  <a:schemeClr val="tx1"/>
                </a:buClr>
                <a:buFont typeface="Wingdings" pitchFamily="2" charset="2"/>
                <a:buChar char="§"/>
                <a:tabLst>
                  <a:tab pos="266700" algn="l"/>
                  <a:tab pos="631825" algn="l"/>
                  <a:tab pos="981075" algn="l"/>
                </a:tabLst>
                <a:defRPr sz="1600"/>
              </a:lvl4pPr>
              <a:lvl5pPr marL="1793875" indent="-180975" fontAlgn="base">
                <a:spcBef>
                  <a:spcPct val="0"/>
                </a:spcBef>
                <a:spcAft>
                  <a:spcPct val="20000"/>
                </a:spcAft>
                <a:buClr>
                  <a:schemeClr val="tx1"/>
                </a:buClr>
                <a:buFont typeface="Wingdings" pitchFamily="2" charset="2"/>
                <a:buChar char="§"/>
                <a:tabLst>
                  <a:tab pos="266700" algn="l"/>
                  <a:tab pos="631825" algn="l"/>
                  <a:tab pos="981075" algn="l"/>
                </a:tabLst>
                <a:defRPr sz="1600"/>
              </a:lvl5pPr>
              <a:lvl6pPr marL="2251075" indent="-180975" fontAlgn="base">
                <a:spcBef>
                  <a:spcPct val="0"/>
                </a:spcBef>
                <a:spcAft>
                  <a:spcPct val="20000"/>
                </a:spcAft>
                <a:buClr>
                  <a:schemeClr val="tx1"/>
                </a:buClr>
                <a:buFont typeface="Wingdings" pitchFamily="2" charset="2"/>
                <a:buChar char="§"/>
                <a:tabLst>
                  <a:tab pos="266700" algn="l"/>
                  <a:tab pos="631825" algn="l"/>
                  <a:tab pos="981075" algn="l"/>
                </a:tabLst>
                <a:defRPr sz="1600"/>
              </a:lvl6pPr>
              <a:lvl7pPr marL="2708275" indent="-180975" fontAlgn="base">
                <a:spcBef>
                  <a:spcPct val="0"/>
                </a:spcBef>
                <a:spcAft>
                  <a:spcPct val="20000"/>
                </a:spcAft>
                <a:buClr>
                  <a:schemeClr val="tx1"/>
                </a:buClr>
                <a:buFont typeface="Wingdings" pitchFamily="2" charset="2"/>
                <a:buChar char="§"/>
                <a:tabLst>
                  <a:tab pos="266700" algn="l"/>
                  <a:tab pos="631825" algn="l"/>
                  <a:tab pos="981075" algn="l"/>
                </a:tabLst>
                <a:defRPr sz="1600"/>
              </a:lvl7pPr>
              <a:lvl8pPr marL="3165475" indent="-180975" fontAlgn="base">
                <a:spcBef>
                  <a:spcPct val="0"/>
                </a:spcBef>
                <a:spcAft>
                  <a:spcPct val="20000"/>
                </a:spcAft>
                <a:buClr>
                  <a:schemeClr val="tx1"/>
                </a:buClr>
                <a:buFont typeface="Wingdings" pitchFamily="2" charset="2"/>
                <a:buChar char="§"/>
                <a:tabLst>
                  <a:tab pos="266700" algn="l"/>
                  <a:tab pos="631825" algn="l"/>
                  <a:tab pos="981075" algn="l"/>
                </a:tabLst>
                <a:defRPr sz="1600"/>
              </a:lvl8pPr>
              <a:lvl9pPr marL="3622675" indent="-180975" fontAlgn="base">
                <a:spcBef>
                  <a:spcPct val="0"/>
                </a:spcBef>
                <a:spcAft>
                  <a:spcPct val="20000"/>
                </a:spcAft>
                <a:buClr>
                  <a:schemeClr val="tx1"/>
                </a:buClr>
                <a:buFont typeface="Wingdings" pitchFamily="2" charset="2"/>
                <a:buChar char="§"/>
                <a:tabLst>
                  <a:tab pos="266700" algn="l"/>
                  <a:tab pos="631825" algn="l"/>
                  <a:tab pos="981075" algn="l"/>
                </a:tabLst>
                <a:defRPr sz="1600"/>
              </a:lvl9pPr>
            </a:lstStyle>
            <a:p>
              <a:pPr>
                <a:buClr>
                  <a:schemeClr val="tx1"/>
                </a:buClr>
              </a:pPr>
              <a:r>
                <a:rPr lang="de-DE" sz="2133" kern="0" dirty="0">
                  <a:latin typeface="+mj-lt"/>
                </a:rPr>
                <a:t>Für die Mensch-Roboter-Kooperation ist eine zweikanalige Ausführung der sicherheitsrelevanten Komponenten notwendig</a:t>
              </a:r>
            </a:p>
            <a:p>
              <a:pPr>
                <a:buClr>
                  <a:schemeClr val="tx1"/>
                </a:buClr>
              </a:pPr>
              <a:r>
                <a:rPr lang="de-DE" sz="2133" kern="0" dirty="0">
                  <a:latin typeface="+mj-lt"/>
                </a:rPr>
                <a:t>Roboter verfügt über sich gegenseitig überwachende Sensorik in zweikanaliger Ausführung</a:t>
              </a:r>
            </a:p>
          </p:txBody>
        </p:sp>
      </p:grpSp>
    </p:spTree>
    <p:extLst>
      <p:ext uri="{BB962C8B-B14F-4D97-AF65-F5344CB8AC3E}">
        <p14:creationId xmlns:p14="http://schemas.microsoft.com/office/powerpoint/2010/main" val="1254178873"/>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PAS assistant - Sensor Hau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490046" y="4217660"/>
            <a:ext cx="1340217" cy="753872"/>
          </a:xfrm>
          <a:prstGeom prst="rect">
            <a:avLst/>
          </a:prstGeom>
        </p:spPr>
      </p:pic>
      <p:sp>
        <p:nvSpPr>
          <p:cNvPr id="2" name="Titel 1"/>
          <p:cNvSpPr>
            <a:spLocks noGrp="1"/>
          </p:cNvSpPr>
          <p:nvPr>
            <p:ph type="title"/>
          </p:nvPr>
        </p:nvSpPr>
        <p:spPr>
          <a:xfrm>
            <a:off x="459318" y="105502"/>
            <a:ext cx="11732682" cy="753383"/>
          </a:xfrm>
        </p:spPr>
        <p:txBody>
          <a:bodyPr>
            <a:noAutofit/>
          </a:bodyPr>
          <a:lstStyle/>
          <a:p>
            <a:pPr>
              <a:lnSpc>
                <a:spcPct val="100000"/>
              </a:lnSpc>
            </a:pPr>
            <a:r>
              <a:rPr lang="de-DE" dirty="0"/>
              <a:t>Externe kapazitive Näherungssensoren am Roboter für eine </a:t>
            </a:r>
            <a:br>
              <a:rPr lang="de-DE" dirty="0"/>
            </a:br>
            <a:r>
              <a:rPr lang="de-DE" dirty="0"/>
              <a:t>berührungsfreie Detektion</a:t>
            </a:r>
          </a:p>
        </p:txBody>
      </p:sp>
      <p:sp>
        <p:nvSpPr>
          <p:cNvPr id="3" name="Fußzeilenplatzhalter 2"/>
          <p:cNvSpPr>
            <a:spLocks noGrp="1"/>
          </p:cNvSpPr>
          <p:nvPr>
            <p:ph type="ftr" sz="quarter" idx="15"/>
          </p:nvPr>
        </p:nvSpPr>
        <p:spPr/>
        <p:txBody>
          <a:bodyPr/>
          <a:lstStyle/>
          <a:p>
            <a:pPr defTabSz="582069"/>
            <a:r>
              <a:rPr lang="de-DE"/>
              <a:t>Automation II</a:t>
            </a:r>
            <a:endParaRPr lang="de-DE" dirty="0"/>
          </a:p>
        </p:txBody>
      </p:sp>
      <p:sp>
        <p:nvSpPr>
          <p:cNvPr id="5" name="Foliennummernplatzhalter 4"/>
          <p:cNvSpPr>
            <a:spLocks noGrp="1"/>
          </p:cNvSpPr>
          <p:nvPr>
            <p:ph type="sldNum" sz="quarter" idx="16"/>
          </p:nvPr>
        </p:nvSpPr>
        <p:spPr/>
        <p:txBody>
          <a:bodyPr/>
          <a:lstStyle/>
          <a:p>
            <a:fld id="{1E6235D0-FF99-C045-995D-75C61122D1C1}" type="slidenum">
              <a:rPr lang="de-DE" smtClean="0"/>
              <a:pPr/>
              <a:t>35</a:t>
            </a:fld>
            <a:endParaRPr lang="de-DE" dirty="0"/>
          </a:p>
        </p:txBody>
      </p:sp>
      <p:sp>
        <p:nvSpPr>
          <p:cNvPr id="22" name="Inhaltsplatzhalter 2"/>
          <p:cNvSpPr>
            <a:spLocks noGrp="1"/>
          </p:cNvSpPr>
          <p:nvPr>
            <p:ph idx="1"/>
          </p:nvPr>
        </p:nvSpPr>
        <p:spPr>
          <a:xfrm>
            <a:off x="517870" y="1136250"/>
            <a:ext cx="6476781" cy="5040683"/>
          </a:xfrm>
        </p:spPr>
        <p:txBody>
          <a:bodyPr vert="horz" lIns="0" tIns="48768" rIns="97536" bIns="48768" rtlCol="0">
            <a:noAutofit/>
          </a:bodyPr>
          <a:lstStyle/>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2133" kern="0" dirty="0">
                <a:solidFill>
                  <a:schemeClr val="tx1"/>
                </a:solidFill>
                <a:latin typeface="+mj-lt"/>
              </a:rPr>
              <a:t>Kapazitive Näherungssensoren erfassen eine Annäherung eines leitenden oder nicht leitenden Gegenstandes, bevor es zur Berührung kommt</a:t>
            </a:r>
          </a:p>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2133" kern="0" dirty="0">
                <a:solidFill>
                  <a:schemeClr val="tx1"/>
                </a:solidFill>
                <a:latin typeface="+mj-lt"/>
              </a:rPr>
              <a:t>Wird das Annähern eines Körperteils detektiert, schaltet der Roboter auf STOP, bevor es zu einer Kollision kommt</a:t>
            </a:r>
          </a:p>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2133" kern="0" dirty="0">
                <a:solidFill>
                  <a:schemeClr val="tx1"/>
                </a:solidFill>
                <a:latin typeface="+mj-lt"/>
              </a:rPr>
              <a:t>Die Detektionsreichweite beträgt z.B. am Roboter-system APAS einige Zentimeter beim Annähern eines Körperteils</a:t>
            </a:r>
          </a:p>
          <a:p>
            <a:pPr marL="355591" indent="-355591" defTabSz="609585" fontAlgn="base">
              <a:spcBef>
                <a:spcPct val="30000"/>
              </a:spcBef>
              <a:spcAft>
                <a:spcPct val="20000"/>
              </a:spcAft>
              <a:buClr>
                <a:schemeClr val="tx1"/>
              </a:buClr>
              <a:buFont typeface="Wingdings" pitchFamily="2" charset="2"/>
              <a:buChar char="n"/>
              <a:tabLst>
                <a:tab pos="355591" algn="l"/>
                <a:tab pos="842412" algn="l"/>
                <a:tab pos="1308067" algn="l"/>
              </a:tabLst>
            </a:pPr>
            <a:r>
              <a:rPr lang="de-DE" sz="2133" kern="0" dirty="0">
                <a:solidFill>
                  <a:schemeClr val="tx1"/>
                </a:solidFill>
                <a:latin typeface="+mj-lt"/>
              </a:rPr>
              <a:t>Messgröße: Änderung der Kapazität </a:t>
            </a:r>
          </a:p>
        </p:txBody>
      </p:sp>
      <p:grpSp>
        <p:nvGrpSpPr>
          <p:cNvPr id="23" name="Gruppieren 22"/>
          <p:cNvGrpSpPr>
            <a:grpSpLocks/>
          </p:cNvGrpSpPr>
          <p:nvPr/>
        </p:nvGrpSpPr>
        <p:grpSpPr>
          <a:xfrm>
            <a:off x="664044" y="1171803"/>
            <a:ext cx="10100734" cy="5079648"/>
            <a:chOff x="215900" y="922668"/>
            <a:chExt cx="9469438" cy="4762170"/>
          </a:xfrm>
        </p:grpSpPr>
        <p:sp>
          <p:nvSpPr>
            <p:cNvPr id="24" name="Kickerbox"/>
            <p:cNvSpPr txBox="1">
              <a:spLocks noChangeArrowheads="1"/>
            </p:cNvSpPr>
            <p:nvPr/>
          </p:nvSpPr>
          <p:spPr bwMode="gray">
            <a:xfrm>
              <a:off x="215900" y="5098844"/>
              <a:ext cx="9469438" cy="585994"/>
            </a:xfrm>
            <a:prstGeom prst="rect">
              <a:avLst/>
            </a:prstGeom>
            <a:noFill/>
            <a:ln w="17272">
              <a:solidFill>
                <a:schemeClr val="accent2">
                  <a:lumMod val="50000"/>
                </a:schemeClr>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7536" tIns="48768" rIns="97536" bIns="48768" anchor="b">
              <a:noAutofit/>
            </a:bodyPr>
            <a:lstStyle/>
            <a:p>
              <a:pPr algn="ctr"/>
              <a:r>
                <a:rPr lang="de-DE" sz="1867" dirty="0"/>
                <a:t>Der kapazitive Näherungssensor erfasst näher kommende leitende und nicht leitende Objekte ohne sie zu berühren und leitet eine Reaktion des Robotersystems ein. </a:t>
              </a:r>
            </a:p>
          </p:txBody>
        </p:sp>
        <p:pic>
          <p:nvPicPr>
            <p:cNvPr id="25" name="Picture 6" descr="Bild1">
              <a:hlinkClick r:id="rId6" action="ppaction://hlinkfile"/>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62579" y="4415068"/>
              <a:ext cx="1011237"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Grafik 25"/>
            <p:cNvPicPr>
              <a:picLocks noChangeAspect="1"/>
            </p:cNvPicPr>
            <p:nvPr/>
          </p:nvPicPr>
          <p:blipFill rotWithShape="1">
            <a:blip r:embed="rId8"/>
            <a:srcRect b="31283"/>
            <a:stretch/>
          </p:blipFill>
          <p:spPr>
            <a:xfrm>
              <a:off x="6069647" y="922668"/>
              <a:ext cx="3604169" cy="1823709"/>
            </a:xfrm>
            <a:prstGeom prst="rect">
              <a:avLst/>
            </a:prstGeom>
          </p:spPr>
        </p:pic>
        <p:pic>
          <p:nvPicPr>
            <p:cNvPr id="28" name="Grafik 27"/>
            <p:cNvPicPr>
              <a:picLocks noChangeAspect="1"/>
            </p:cNvPicPr>
            <p:nvPr/>
          </p:nvPicPr>
          <p:blipFill rotWithShape="1">
            <a:blip r:embed="rId8"/>
            <a:srcRect l="19145" t="73061" r="62270" b="8654"/>
            <a:stretch/>
          </p:blipFill>
          <p:spPr>
            <a:xfrm>
              <a:off x="6589459" y="3393772"/>
              <a:ext cx="1505972" cy="1091142"/>
            </a:xfrm>
            <a:prstGeom prst="rect">
              <a:avLst/>
            </a:prstGeom>
          </p:spPr>
        </p:pic>
        <p:pic>
          <p:nvPicPr>
            <p:cNvPr id="31"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l="61583" b="59706"/>
            <a:stretch/>
          </p:blipFill>
          <p:spPr bwMode="auto">
            <a:xfrm>
              <a:off x="7690236" y="3058601"/>
              <a:ext cx="1115091" cy="10011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feld 32"/>
            <p:cNvSpPr txBox="1"/>
            <p:nvPr/>
          </p:nvSpPr>
          <p:spPr>
            <a:xfrm>
              <a:off x="6589459" y="2765241"/>
              <a:ext cx="2707592" cy="369332"/>
            </a:xfrm>
            <a:prstGeom prst="rect">
              <a:avLst/>
            </a:prstGeom>
            <a:noFill/>
          </p:spPr>
          <p:txBody>
            <a:bodyPr wrap="none" lIns="97536" tIns="48768" rIns="97536" bIns="48768" rtlCol="0">
              <a:spAutoFit/>
            </a:bodyPr>
            <a:lstStyle/>
            <a:p>
              <a:r>
                <a:rPr lang="de-DE" sz="1920" dirty="0"/>
                <a:t>Kapazitive Sensorelemente</a:t>
              </a:r>
            </a:p>
          </p:txBody>
        </p:sp>
        <p:cxnSp>
          <p:nvCxnSpPr>
            <p:cNvPr id="34" name="Gerade Verbindung mit Pfeil 33"/>
            <p:cNvCxnSpPr>
              <a:stCxn id="33" idx="0"/>
            </p:cNvCxnSpPr>
            <p:nvPr/>
          </p:nvCxnSpPr>
          <p:spPr bwMode="auto">
            <a:xfrm flipV="1">
              <a:off x="7943255" y="2138753"/>
              <a:ext cx="236514" cy="626488"/>
            </a:xfrm>
            <a:prstGeom prst="straightConnector1">
              <a:avLst/>
            </a:prstGeom>
            <a:solidFill>
              <a:srgbClr val="DDDDDD"/>
            </a:solidFill>
            <a:ln w="2286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 name="Gerade Verbindung mit Pfeil 34"/>
            <p:cNvCxnSpPr>
              <a:stCxn id="33" idx="0"/>
            </p:cNvCxnSpPr>
            <p:nvPr/>
          </p:nvCxnSpPr>
          <p:spPr bwMode="auto">
            <a:xfrm flipH="1" flipV="1">
              <a:off x="7714235" y="1504221"/>
              <a:ext cx="229020" cy="1261020"/>
            </a:xfrm>
            <a:prstGeom prst="straightConnector1">
              <a:avLst/>
            </a:prstGeom>
            <a:solidFill>
              <a:srgbClr val="DDDDDD"/>
            </a:solidFill>
            <a:ln w="2286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6" name="Textfeld 35"/>
            <p:cNvSpPr txBox="1"/>
            <p:nvPr/>
          </p:nvSpPr>
          <p:spPr>
            <a:xfrm>
              <a:off x="7180381" y="4509553"/>
              <a:ext cx="1173758" cy="369332"/>
            </a:xfrm>
            <a:prstGeom prst="rect">
              <a:avLst/>
            </a:prstGeom>
            <a:noFill/>
          </p:spPr>
          <p:txBody>
            <a:bodyPr wrap="none" lIns="97536" tIns="48768" rIns="97536" bIns="48768" rtlCol="0">
              <a:spAutoFit/>
            </a:bodyPr>
            <a:lstStyle/>
            <a:p>
              <a:r>
                <a:rPr lang="de-DE" sz="1920" dirty="0"/>
                <a:t>Sensorfeld</a:t>
              </a:r>
            </a:p>
          </p:txBody>
        </p:sp>
        <p:sp>
          <p:nvSpPr>
            <p:cNvPr id="37" name="Textfeld 36"/>
            <p:cNvSpPr txBox="1"/>
            <p:nvPr/>
          </p:nvSpPr>
          <p:spPr>
            <a:xfrm>
              <a:off x="5364174" y="3891271"/>
              <a:ext cx="1137992" cy="646331"/>
            </a:xfrm>
            <a:prstGeom prst="rect">
              <a:avLst/>
            </a:prstGeom>
            <a:noFill/>
          </p:spPr>
          <p:txBody>
            <a:bodyPr wrap="none" lIns="97536" tIns="48768" rIns="97536" bIns="48768" rtlCol="0">
              <a:spAutoFit/>
            </a:bodyPr>
            <a:lstStyle/>
            <a:p>
              <a:r>
                <a:rPr lang="de-DE" sz="1920" dirty="0"/>
                <a:t>Leitendes </a:t>
              </a:r>
            </a:p>
            <a:p>
              <a:r>
                <a:rPr lang="de-DE" sz="1920" dirty="0"/>
                <a:t>Exponat</a:t>
              </a:r>
            </a:p>
          </p:txBody>
        </p:sp>
        <p:cxnSp>
          <p:nvCxnSpPr>
            <p:cNvPr id="38" name="Gerade Verbindung mit Pfeil 37"/>
            <p:cNvCxnSpPr/>
            <p:nvPr/>
          </p:nvCxnSpPr>
          <p:spPr bwMode="auto">
            <a:xfrm flipV="1">
              <a:off x="6332338" y="3818245"/>
              <a:ext cx="888897" cy="141073"/>
            </a:xfrm>
            <a:prstGeom prst="straightConnector1">
              <a:avLst/>
            </a:prstGeom>
            <a:solidFill>
              <a:srgbClr val="DDDDDD"/>
            </a:solidFill>
            <a:ln w="2286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 name="Gerade Verbindung mit Pfeil 38"/>
            <p:cNvCxnSpPr/>
            <p:nvPr/>
          </p:nvCxnSpPr>
          <p:spPr bwMode="auto">
            <a:xfrm flipH="1" flipV="1">
              <a:off x="7255216" y="4214435"/>
              <a:ext cx="435020" cy="323166"/>
            </a:xfrm>
            <a:prstGeom prst="straightConnector1">
              <a:avLst/>
            </a:prstGeom>
            <a:solidFill>
              <a:srgbClr val="DDDDDD"/>
            </a:solidFill>
            <a:ln w="2286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0" name="Quelle"/>
          <p:cNvSpPr txBox="1">
            <a:spLocks noChangeArrowheads="1"/>
          </p:cNvSpPr>
          <p:nvPr/>
        </p:nvSpPr>
        <p:spPr bwMode="auto">
          <a:xfrm>
            <a:off x="9826099" y="6461313"/>
            <a:ext cx="1261701"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Bosch</a:t>
            </a:r>
          </a:p>
        </p:txBody>
      </p:sp>
    </p:spTree>
    <p:extLst>
      <p:ext uri="{BB962C8B-B14F-4D97-AF65-F5344CB8AC3E}">
        <p14:creationId xmlns:p14="http://schemas.microsoft.com/office/powerpoint/2010/main" val="2750802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765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showWhenStopped="0">
                <p:cTn id="7" fill="hold" display="0">
                  <p:stCondLst>
                    <p:cond delay="indefinite"/>
                  </p:stCondLst>
                </p:cTn>
                <p:tgtEl>
                  <p:spTgt spid="4"/>
                </p:tgtEl>
              </p:cMediaNode>
            </p:vide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193041"/>
            <a:ext cx="9023349" cy="743223"/>
          </a:xfrm>
        </p:spPr>
        <p:txBody>
          <a:bodyPr>
            <a:noAutofit/>
          </a:bodyPr>
          <a:lstStyle/>
          <a:p>
            <a:pPr>
              <a:lnSpc>
                <a:spcPct val="100000"/>
              </a:lnSpc>
            </a:pPr>
            <a:r>
              <a:rPr lang="de-DE" dirty="0"/>
              <a:t>Sicherheitsfeature der MRK-fähigen Robotersysteme durch das Roboter Design</a:t>
            </a:r>
          </a:p>
        </p:txBody>
      </p:sp>
      <p:sp>
        <p:nvSpPr>
          <p:cNvPr id="11" name="Fußzeilenplatzhalter 10"/>
          <p:cNvSpPr>
            <a:spLocks noGrp="1"/>
          </p:cNvSpPr>
          <p:nvPr>
            <p:ph type="ftr" sz="quarter" idx="15"/>
          </p:nvPr>
        </p:nvSpPr>
        <p:spPr/>
        <p:txBody>
          <a:bodyPr/>
          <a:lstStyle/>
          <a:p>
            <a:pPr defTabSz="582069"/>
            <a:r>
              <a:rPr lang="de-DE"/>
              <a:t>Automation II</a:t>
            </a:r>
            <a:endParaRPr lang="de-DE" dirty="0"/>
          </a:p>
        </p:txBody>
      </p:sp>
      <p:sp>
        <p:nvSpPr>
          <p:cNvPr id="14" name="Foliennummernplatzhalter 13"/>
          <p:cNvSpPr>
            <a:spLocks noGrp="1"/>
          </p:cNvSpPr>
          <p:nvPr>
            <p:ph type="sldNum" sz="quarter" idx="16"/>
          </p:nvPr>
        </p:nvSpPr>
        <p:spPr>
          <a:xfrm>
            <a:off x="0" y="6451981"/>
            <a:ext cx="767048" cy="211045"/>
          </a:xfrm>
        </p:spPr>
        <p:txBody>
          <a:bodyPr/>
          <a:lstStyle/>
          <a:p>
            <a:fld id="{1E6235D0-FF99-C045-995D-75C61122D1C1}" type="slidenum">
              <a:rPr lang="de-DE" smtClean="0"/>
              <a:pPr/>
              <a:t>36</a:t>
            </a:fld>
            <a:endParaRPr lang="de-DE" dirty="0"/>
          </a:p>
        </p:txBody>
      </p:sp>
      <p:sp>
        <p:nvSpPr>
          <p:cNvPr id="19" name="Rectangle 3"/>
          <p:cNvSpPr txBox="1">
            <a:spLocks noChangeArrowheads="1"/>
          </p:cNvSpPr>
          <p:nvPr/>
        </p:nvSpPr>
        <p:spPr>
          <a:xfrm>
            <a:off x="491397" y="1038393"/>
            <a:ext cx="5314079" cy="5181600"/>
          </a:xfrm>
          <a:prstGeom prst="rect">
            <a:avLst/>
          </a:prstGeom>
        </p:spPr>
        <p:txBody>
          <a:bodyPr lIns="97536" tIns="48768" rIns="97536" bIns="48768"/>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84473" indent="-284473">
              <a:buClr>
                <a:schemeClr val="tx1"/>
              </a:buClr>
            </a:pPr>
            <a:r>
              <a:rPr lang="de-DE" sz="2133" kern="0" dirty="0">
                <a:latin typeface="+mj-lt"/>
              </a:rPr>
              <a:t>Geschlossene und abgerundete Konstruktion des Roboters</a:t>
            </a:r>
          </a:p>
          <a:p>
            <a:pPr marL="284473" indent="-284473">
              <a:buClr>
                <a:schemeClr val="tx1"/>
              </a:buClr>
            </a:pPr>
            <a:r>
              <a:rPr lang="de-DE" sz="2133" kern="0" dirty="0">
                <a:latin typeface="+mj-lt"/>
              </a:rPr>
              <a:t>Keine Quetsch- und Klemmstellen, sodass keine empfindlichen Körperteile in der Bewegung des Roboters eingeklemmt werden können</a:t>
            </a:r>
          </a:p>
          <a:p>
            <a:pPr marL="284473" indent="-284473">
              <a:buClr>
                <a:schemeClr val="tx1"/>
              </a:buClr>
            </a:pPr>
            <a:r>
              <a:rPr lang="de-DE" sz="2133" kern="0" dirty="0" err="1">
                <a:latin typeface="+mj-lt"/>
              </a:rPr>
              <a:t>Kunststoffumhausung</a:t>
            </a:r>
            <a:r>
              <a:rPr lang="de-DE" sz="2133" kern="0" dirty="0">
                <a:latin typeface="+mj-lt"/>
              </a:rPr>
              <a:t> und Schutzpolsterungen des Roboterarms reduzieren die wirkende Kraft im Kollisionsfall</a:t>
            </a:r>
          </a:p>
          <a:p>
            <a:pPr marL="284473" indent="-284473" defTabSz="355591">
              <a:buClr>
                <a:schemeClr val="tx1"/>
              </a:buClr>
              <a:tabLst>
                <a:tab pos="243411" algn="l"/>
              </a:tabLst>
            </a:pPr>
            <a:r>
              <a:rPr lang="de-DE" sz="2133" kern="0" dirty="0">
                <a:latin typeface="+mj-lt"/>
              </a:rPr>
              <a:t>Die Leichtbauweise führt zu einem möglichst geringem Verhältnis von Eigengewicht zu Traglast</a:t>
            </a:r>
          </a:p>
          <a:p>
            <a:endParaRPr lang="de-DE" sz="2400" kern="0" dirty="0"/>
          </a:p>
        </p:txBody>
      </p:sp>
      <p:pic>
        <p:nvPicPr>
          <p:cNvPr id="20" name="Picture 2" descr="http://www07.abb.com/api/ir/getimage/36fb710b-54e0-4e53-8383-aacde553ec56/1"/>
          <p:cNvPicPr>
            <a:picLocks noChangeAspect="1" noChangeArrowheads="1"/>
          </p:cNvPicPr>
          <p:nvPr/>
        </p:nvPicPr>
        <p:blipFill>
          <a:blip r:embed="rId3">
            <a:extLst>
              <a:ext uri="{28A0092B-C50C-407E-A947-70E740481C1C}">
                <a14:useLocalDpi xmlns:a14="http://schemas.microsoft.com/office/drawing/2010/main" val="0"/>
              </a:ext>
            </a:extLst>
          </a:blip>
          <a:srcRect l="19237" t="13873" r="22556" b="13518"/>
          <a:stretch>
            <a:fillRect/>
          </a:stretch>
        </p:blipFill>
        <p:spPr bwMode="auto">
          <a:xfrm>
            <a:off x="5937917" y="4247719"/>
            <a:ext cx="2676904" cy="222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20"/>
          <p:cNvPicPr>
            <a:picLocks noChangeAspect="1"/>
          </p:cNvPicPr>
          <p:nvPr/>
        </p:nvPicPr>
        <p:blipFill rotWithShape="1">
          <a:blip r:embed="rId4">
            <a:extLst>
              <a:ext uri="{28A0092B-C50C-407E-A947-70E740481C1C}">
                <a14:useLocalDpi xmlns:a14="http://schemas.microsoft.com/office/drawing/2010/main" val="0"/>
              </a:ext>
            </a:extLst>
          </a:blip>
          <a:srcRect l="27417" t="4582" r="35750" b="168"/>
          <a:stretch/>
        </p:blipFill>
        <p:spPr>
          <a:xfrm>
            <a:off x="10101337" y="1038393"/>
            <a:ext cx="1590264" cy="2741587"/>
          </a:xfrm>
          <a:prstGeom prst="rect">
            <a:avLst/>
          </a:prstGeom>
        </p:spPr>
      </p:pic>
      <p:sp>
        <p:nvSpPr>
          <p:cNvPr id="22" name="Textfeld 21"/>
          <p:cNvSpPr txBox="1">
            <a:spLocks/>
          </p:cNvSpPr>
          <p:nvPr/>
        </p:nvSpPr>
        <p:spPr>
          <a:xfrm>
            <a:off x="7728947" y="1062835"/>
            <a:ext cx="1260666" cy="689420"/>
          </a:xfrm>
          <a:prstGeom prst="rect">
            <a:avLst/>
          </a:prstGeom>
          <a:noFill/>
        </p:spPr>
        <p:txBody>
          <a:bodyPr wrap="none" lIns="97536" tIns="48768" rIns="97536" bIns="48768" rtlCol="0">
            <a:spAutoFit/>
          </a:bodyPr>
          <a:lstStyle/>
          <a:p>
            <a:r>
              <a:rPr lang="de-DE" sz="1920" dirty="0"/>
              <a:t>Schutz-</a:t>
            </a:r>
          </a:p>
          <a:p>
            <a:r>
              <a:rPr lang="de-DE" sz="1920" dirty="0"/>
              <a:t>Polsterung</a:t>
            </a:r>
          </a:p>
        </p:txBody>
      </p:sp>
      <p:cxnSp>
        <p:nvCxnSpPr>
          <p:cNvPr id="23" name="Gerade Verbindung mit Pfeil 22"/>
          <p:cNvCxnSpPr>
            <a:cxnSpLocks/>
            <a:stCxn id="22" idx="3"/>
          </p:cNvCxnSpPr>
          <p:nvPr/>
        </p:nvCxnSpPr>
        <p:spPr bwMode="auto">
          <a:xfrm>
            <a:off x="8989613" y="1407545"/>
            <a:ext cx="1140571" cy="869784"/>
          </a:xfrm>
          <a:prstGeom prst="straightConnector1">
            <a:avLst/>
          </a:prstGeom>
          <a:solidFill>
            <a:srgbClr val="DDDDDD"/>
          </a:solidFill>
          <a:ln w="3048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Gerade Verbindung mit Pfeil 24"/>
          <p:cNvCxnSpPr>
            <a:cxnSpLocks/>
            <a:stCxn id="22" idx="3"/>
          </p:cNvCxnSpPr>
          <p:nvPr/>
        </p:nvCxnSpPr>
        <p:spPr bwMode="auto">
          <a:xfrm>
            <a:off x="8989613" y="1407545"/>
            <a:ext cx="1140571" cy="43736"/>
          </a:xfrm>
          <a:prstGeom prst="straightConnector1">
            <a:avLst/>
          </a:prstGeom>
          <a:solidFill>
            <a:srgbClr val="DDDDDD"/>
          </a:solidFill>
          <a:ln w="3048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6" name="Textfeld 25"/>
          <p:cNvSpPr txBox="1">
            <a:spLocks/>
          </p:cNvSpPr>
          <p:nvPr/>
        </p:nvSpPr>
        <p:spPr>
          <a:xfrm>
            <a:off x="4672926" y="5848129"/>
            <a:ext cx="1558312" cy="689420"/>
          </a:xfrm>
          <a:prstGeom prst="rect">
            <a:avLst/>
          </a:prstGeom>
          <a:noFill/>
        </p:spPr>
        <p:txBody>
          <a:bodyPr wrap="none" lIns="97536" tIns="48768" rIns="97536" bIns="48768" rtlCol="0">
            <a:spAutoFit/>
          </a:bodyPr>
          <a:lstStyle/>
          <a:p>
            <a:r>
              <a:rPr lang="de-DE" sz="1920" dirty="0"/>
              <a:t>Abgerundete </a:t>
            </a:r>
          </a:p>
          <a:p>
            <a:r>
              <a:rPr lang="de-DE" sz="1920" dirty="0"/>
              <a:t>Flächen</a:t>
            </a:r>
          </a:p>
        </p:txBody>
      </p:sp>
      <p:cxnSp>
        <p:nvCxnSpPr>
          <p:cNvPr id="27" name="Gerade Verbindung mit Pfeil 26"/>
          <p:cNvCxnSpPr>
            <a:cxnSpLocks/>
          </p:cNvCxnSpPr>
          <p:nvPr/>
        </p:nvCxnSpPr>
        <p:spPr bwMode="auto">
          <a:xfrm flipV="1">
            <a:off x="5452083" y="5486245"/>
            <a:ext cx="1007691" cy="382027"/>
          </a:xfrm>
          <a:prstGeom prst="straightConnector1">
            <a:avLst/>
          </a:prstGeom>
          <a:solidFill>
            <a:srgbClr val="DDDDDD"/>
          </a:solidFill>
          <a:ln w="3048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8" name="Grafik 27"/>
          <p:cNvPicPr>
            <a:picLocks noChangeAspect="1"/>
          </p:cNvPicPr>
          <p:nvPr/>
        </p:nvPicPr>
        <p:blipFill>
          <a:blip r:embed="rId5"/>
          <a:stretch>
            <a:fillRect/>
          </a:stretch>
        </p:blipFill>
        <p:spPr>
          <a:xfrm rot="16200000">
            <a:off x="7624369" y="3437162"/>
            <a:ext cx="3102447" cy="1265420"/>
          </a:xfrm>
          <a:prstGeom prst="rect">
            <a:avLst/>
          </a:prstGeom>
        </p:spPr>
      </p:pic>
      <p:cxnSp>
        <p:nvCxnSpPr>
          <p:cNvPr id="29" name="Gerade Verbindung mit Pfeil 28"/>
          <p:cNvCxnSpPr>
            <a:cxnSpLocks/>
          </p:cNvCxnSpPr>
          <p:nvPr/>
        </p:nvCxnSpPr>
        <p:spPr bwMode="auto">
          <a:xfrm flipH="1" flipV="1">
            <a:off x="9485762" y="3429000"/>
            <a:ext cx="935831" cy="769259"/>
          </a:xfrm>
          <a:prstGeom prst="straightConnector1">
            <a:avLst/>
          </a:prstGeom>
          <a:solidFill>
            <a:srgbClr val="DDDDDD"/>
          </a:solidFill>
          <a:ln w="3048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 name="Textfeld 29"/>
          <p:cNvSpPr txBox="1">
            <a:spLocks/>
          </p:cNvSpPr>
          <p:nvPr/>
        </p:nvSpPr>
        <p:spPr>
          <a:xfrm>
            <a:off x="10012684" y="4131127"/>
            <a:ext cx="2001382" cy="689420"/>
          </a:xfrm>
          <a:prstGeom prst="rect">
            <a:avLst/>
          </a:prstGeom>
          <a:noFill/>
        </p:spPr>
        <p:txBody>
          <a:bodyPr wrap="none" lIns="97536" tIns="48768" rIns="97536" bIns="48768" rtlCol="0">
            <a:spAutoFit/>
          </a:bodyPr>
          <a:lstStyle/>
          <a:p>
            <a:r>
              <a:rPr lang="de-DE" sz="1920" dirty="0"/>
              <a:t>Keine Quetsch- </a:t>
            </a:r>
          </a:p>
          <a:p>
            <a:r>
              <a:rPr lang="de-DE" sz="1920" dirty="0"/>
              <a:t>und Klemmstellen</a:t>
            </a:r>
          </a:p>
        </p:txBody>
      </p:sp>
      <p:cxnSp>
        <p:nvCxnSpPr>
          <p:cNvPr id="31" name="Gerade Verbindung mit Pfeil 30"/>
          <p:cNvCxnSpPr>
            <a:cxnSpLocks/>
            <a:stCxn id="20" idx="1"/>
          </p:cNvCxnSpPr>
          <p:nvPr/>
        </p:nvCxnSpPr>
        <p:spPr bwMode="auto">
          <a:xfrm flipV="1">
            <a:off x="5937917" y="5126201"/>
            <a:ext cx="412920" cy="188156"/>
          </a:xfrm>
          <a:prstGeom prst="straightConnector1">
            <a:avLst/>
          </a:prstGeom>
          <a:solidFill>
            <a:srgbClr val="DDDDDD"/>
          </a:solidFill>
          <a:ln w="3048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 name="Quelle"/>
          <p:cNvSpPr txBox="1">
            <a:spLocks noChangeArrowheads="1"/>
          </p:cNvSpPr>
          <p:nvPr/>
        </p:nvSpPr>
        <p:spPr bwMode="auto">
          <a:xfrm>
            <a:off x="9011821" y="6290674"/>
            <a:ext cx="10099040"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Fanuc, ABB, Kuka</a:t>
            </a:r>
          </a:p>
        </p:txBody>
      </p:sp>
    </p:spTree>
    <p:extLst>
      <p:ext uri="{BB962C8B-B14F-4D97-AF65-F5344CB8AC3E}">
        <p14:creationId xmlns:p14="http://schemas.microsoft.com/office/powerpoint/2010/main" val="3510241311"/>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E745F4F-964B-828D-4E8E-39E6D9E13540}"/>
              </a:ext>
            </a:extLst>
          </p:cNvPr>
          <p:cNvSpPr>
            <a:spLocks noGrp="1"/>
          </p:cNvSpPr>
          <p:nvPr>
            <p:ph type="title"/>
          </p:nvPr>
        </p:nvSpPr>
        <p:spPr/>
        <p:txBody>
          <a:bodyPr>
            <a:normAutofit fontScale="90000"/>
          </a:bodyPr>
          <a:lstStyle/>
          <a:p>
            <a:pPr>
              <a:lnSpc>
                <a:spcPct val="100000"/>
              </a:lnSpc>
            </a:pPr>
            <a:r>
              <a:rPr lang="de-CH" dirty="0"/>
              <a:t>Begrenzung der Bewegungen &amp; Reduzierung von Geschwindigkeit und Kraft</a:t>
            </a:r>
          </a:p>
        </p:txBody>
      </p:sp>
      <p:sp>
        <p:nvSpPr>
          <p:cNvPr id="4" name="Fußzeilenplatzhalter 3">
            <a:extLst>
              <a:ext uri="{FF2B5EF4-FFF2-40B4-BE49-F238E27FC236}">
                <a16:creationId xmlns:a16="http://schemas.microsoft.com/office/drawing/2014/main" id="{FB770FDA-5388-F212-BF95-7B2CC3748391}"/>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83D3ED9D-ED16-7D0C-B5E1-1A1522F7DF13}"/>
              </a:ext>
            </a:extLst>
          </p:cNvPr>
          <p:cNvSpPr>
            <a:spLocks noGrp="1"/>
          </p:cNvSpPr>
          <p:nvPr>
            <p:ph type="sldNum" sz="quarter" idx="16"/>
          </p:nvPr>
        </p:nvSpPr>
        <p:spPr/>
        <p:txBody>
          <a:bodyPr/>
          <a:lstStyle/>
          <a:p>
            <a:fld id="{61F2C2C2-1EE4-4D60-B09F-2141F977BFAA}" type="slidenum">
              <a:rPr lang="de-DE" altLang="de-DE" smtClean="0"/>
              <a:pPr/>
              <a:t>37</a:t>
            </a:fld>
            <a:endParaRPr lang="de-DE" altLang="de-DE"/>
          </a:p>
        </p:txBody>
      </p:sp>
      <p:sp>
        <p:nvSpPr>
          <p:cNvPr id="6" name="Textfeld 5">
            <a:extLst>
              <a:ext uri="{FF2B5EF4-FFF2-40B4-BE49-F238E27FC236}">
                <a16:creationId xmlns:a16="http://schemas.microsoft.com/office/drawing/2014/main" id="{10C3C485-8A53-265D-46D5-9626BF6FA2BD}"/>
              </a:ext>
            </a:extLst>
          </p:cNvPr>
          <p:cNvSpPr txBox="1"/>
          <p:nvPr/>
        </p:nvSpPr>
        <p:spPr>
          <a:xfrm>
            <a:off x="1233488" y="1646748"/>
            <a:ext cx="4673074" cy="369332"/>
          </a:xfrm>
          <a:prstGeom prst="rect">
            <a:avLst/>
          </a:prstGeom>
          <a:noFill/>
        </p:spPr>
        <p:txBody>
          <a:bodyPr wrap="none" rtlCol="0">
            <a:spAutoFit/>
          </a:bodyPr>
          <a:lstStyle/>
          <a:p>
            <a:r>
              <a:rPr lang="de-DE" dirty="0"/>
              <a:t>Geringe Nutzlast bei hoher Geschwindigkeit</a:t>
            </a:r>
          </a:p>
        </p:txBody>
      </p:sp>
      <p:sp>
        <p:nvSpPr>
          <p:cNvPr id="7" name="Textfeld 6">
            <a:extLst>
              <a:ext uri="{FF2B5EF4-FFF2-40B4-BE49-F238E27FC236}">
                <a16:creationId xmlns:a16="http://schemas.microsoft.com/office/drawing/2014/main" id="{0C75FCF3-E4FC-314B-C464-3E01797F93CF}"/>
              </a:ext>
            </a:extLst>
          </p:cNvPr>
          <p:cNvSpPr txBox="1"/>
          <p:nvPr/>
        </p:nvSpPr>
        <p:spPr>
          <a:xfrm>
            <a:off x="6166500" y="1678447"/>
            <a:ext cx="4660250" cy="369332"/>
          </a:xfrm>
          <a:prstGeom prst="rect">
            <a:avLst/>
          </a:prstGeom>
          <a:noFill/>
        </p:spPr>
        <p:txBody>
          <a:bodyPr wrap="none" rtlCol="0">
            <a:spAutoFit/>
          </a:bodyPr>
          <a:lstStyle/>
          <a:p>
            <a:r>
              <a:rPr lang="de-DE" dirty="0"/>
              <a:t>Hohe Nutzlast bei geringer Geschwindigkeit</a:t>
            </a:r>
          </a:p>
        </p:txBody>
      </p:sp>
      <p:sp>
        <p:nvSpPr>
          <p:cNvPr id="8" name="Textfeld 7">
            <a:extLst>
              <a:ext uri="{FF2B5EF4-FFF2-40B4-BE49-F238E27FC236}">
                <a16:creationId xmlns:a16="http://schemas.microsoft.com/office/drawing/2014/main" id="{FE50086A-8949-8C45-E895-88C8458810C2}"/>
              </a:ext>
            </a:extLst>
          </p:cNvPr>
          <p:cNvSpPr txBox="1"/>
          <p:nvPr/>
        </p:nvSpPr>
        <p:spPr>
          <a:xfrm>
            <a:off x="1881837" y="5158928"/>
            <a:ext cx="2637260" cy="523220"/>
          </a:xfrm>
          <a:prstGeom prst="rect">
            <a:avLst/>
          </a:prstGeom>
          <a:noFill/>
        </p:spPr>
        <p:txBody>
          <a:bodyPr wrap="none" rtlCol="0">
            <a:spAutoFit/>
          </a:bodyPr>
          <a:lstStyle/>
          <a:p>
            <a:r>
              <a:rPr lang="de-DE" sz="1200" b="1" dirty="0"/>
              <a:t>ABB </a:t>
            </a:r>
            <a:r>
              <a:rPr lang="de-DE" sz="1200" b="1" dirty="0" err="1"/>
              <a:t>YuMi</a:t>
            </a:r>
            <a:r>
              <a:rPr lang="de-DE" sz="1200" b="1" dirty="0"/>
              <a:t>:</a:t>
            </a:r>
          </a:p>
          <a:p>
            <a:r>
              <a:rPr lang="de-DE" sz="1600" dirty="0"/>
              <a:t>500g bei bis zu 1500 mm/s</a:t>
            </a:r>
          </a:p>
        </p:txBody>
      </p:sp>
      <p:pic>
        <p:nvPicPr>
          <p:cNvPr id="9" name="Grafik 8">
            <a:extLst>
              <a:ext uri="{FF2B5EF4-FFF2-40B4-BE49-F238E27FC236}">
                <a16:creationId xmlns:a16="http://schemas.microsoft.com/office/drawing/2014/main" id="{39303FCB-5A13-B143-76EE-4A2C999E6063}"/>
              </a:ext>
            </a:extLst>
          </p:cNvPr>
          <p:cNvPicPr>
            <a:picLocks noChangeAspect="1"/>
          </p:cNvPicPr>
          <p:nvPr/>
        </p:nvPicPr>
        <p:blipFill>
          <a:blip r:embed="rId2"/>
          <a:stretch>
            <a:fillRect/>
          </a:stretch>
        </p:blipFill>
        <p:spPr>
          <a:xfrm>
            <a:off x="6606499" y="3005820"/>
            <a:ext cx="3208544" cy="2160000"/>
          </a:xfrm>
          <a:prstGeom prst="rect">
            <a:avLst/>
          </a:prstGeom>
        </p:spPr>
      </p:pic>
      <p:pic>
        <p:nvPicPr>
          <p:cNvPr id="10" name="Grafik 9">
            <a:extLst>
              <a:ext uri="{FF2B5EF4-FFF2-40B4-BE49-F238E27FC236}">
                <a16:creationId xmlns:a16="http://schemas.microsoft.com/office/drawing/2014/main" id="{7B182CCB-1503-C6D5-33B7-A9690A2B8CC1}"/>
              </a:ext>
            </a:extLst>
          </p:cNvPr>
          <p:cNvPicPr>
            <a:picLocks noChangeAspect="1"/>
          </p:cNvPicPr>
          <p:nvPr/>
        </p:nvPicPr>
        <p:blipFill>
          <a:blip r:embed="rId3"/>
          <a:stretch>
            <a:fillRect/>
          </a:stretch>
        </p:blipFill>
        <p:spPr>
          <a:xfrm>
            <a:off x="1284792" y="2139493"/>
            <a:ext cx="4034710" cy="2945338"/>
          </a:xfrm>
          <a:prstGeom prst="rect">
            <a:avLst/>
          </a:prstGeom>
        </p:spPr>
      </p:pic>
      <p:sp>
        <p:nvSpPr>
          <p:cNvPr id="11" name="Textfeld 10">
            <a:extLst>
              <a:ext uri="{FF2B5EF4-FFF2-40B4-BE49-F238E27FC236}">
                <a16:creationId xmlns:a16="http://schemas.microsoft.com/office/drawing/2014/main" id="{01CDBAFD-DF63-F75A-138C-5A53C35DE0BC}"/>
              </a:ext>
            </a:extLst>
          </p:cNvPr>
          <p:cNvSpPr txBox="1"/>
          <p:nvPr/>
        </p:nvSpPr>
        <p:spPr>
          <a:xfrm>
            <a:off x="6454775" y="5179553"/>
            <a:ext cx="4371975" cy="1046440"/>
          </a:xfrm>
          <a:prstGeom prst="rect">
            <a:avLst/>
          </a:prstGeom>
          <a:noFill/>
        </p:spPr>
        <p:txBody>
          <a:bodyPr wrap="square" rtlCol="0">
            <a:spAutoFit/>
          </a:bodyPr>
          <a:lstStyle/>
          <a:p>
            <a:r>
              <a:rPr lang="de-DE" sz="1400" b="1" dirty="0"/>
              <a:t>IPS TU Dortmund:</a:t>
            </a:r>
          </a:p>
          <a:p>
            <a:r>
              <a:rPr lang="de-DE" sz="1600" dirty="0"/>
              <a:t>&gt;120 kg bei bis zu 100 mm/s</a:t>
            </a:r>
          </a:p>
          <a:p>
            <a:r>
              <a:rPr lang="de-DE" sz="1600" dirty="0"/>
              <a:t>Begrenzte Bewegung nur um </a:t>
            </a:r>
            <a:br>
              <a:rPr lang="de-DE" sz="1600" dirty="0"/>
            </a:br>
            <a:r>
              <a:rPr lang="de-DE" sz="1600" dirty="0"/>
              <a:t>die 6. Achse im MRK-Modus </a:t>
            </a:r>
          </a:p>
        </p:txBody>
      </p:sp>
      <p:sp>
        <p:nvSpPr>
          <p:cNvPr id="12" name="Quelle">
            <a:extLst>
              <a:ext uri="{FF2B5EF4-FFF2-40B4-BE49-F238E27FC236}">
                <a16:creationId xmlns:a16="http://schemas.microsoft.com/office/drawing/2014/main" id="{8F1DA1E9-1993-0BF7-5ECC-1C35B87F59D8}"/>
              </a:ext>
            </a:extLst>
          </p:cNvPr>
          <p:cNvSpPr txBox="1">
            <a:spLocks noChangeArrowheads="1"/>
          </p:cNvSpPr>
          <p:nvPr/>
        </p:nvSpPr>
        <p:spPr bwMode="auto">
          <a:xfrm>
            <a:off x="9815043" y="5923806"/>
            <a:ext cx="2186457"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anchor="b">
            <a:spAutoFit/>
          </a:bodyPr>
          <a:lstStyle/>
          <a:p>
            <a:r>
              <a:rPr lang="de-DE" sz="1000" dirty="0"/>
              <a:t>Bildquelle: ABB, automationtrend.com</a:t>
            </a:r>
          </a:p>
        </p:txBody>
      </p:sp>
    </p:spTree>
    <p:extLst>
      <p:ext uri="{BB962C8B-B14F-4D97-AF65-F5344CB8AC3E}">
        <p14:creationId xmlns:p14="http://schemas.microsoft.com/office/powerpoint/2010/main" val="3692745671"/>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actile safety elements_MRKSyste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0446187" y="4504439"/>
            <a:ext cx="1283664" cy="722061"/>
          </a:xfrm>
          <a:prstGeom prst="rect">
            <a:avLst/>
          </a:prstGeom>
        </p:spPr>
      </p:pic>
      <p:sp>
        <p:nvSpPr>
          <p:cNvPr id="2" name="Titel 1"/>
          <p:cNvSpPr>
            <a:spLocks noGrp="1"/>
          </p:cNvSpPr>
          <p:nvPr>
            <p:ph type="title"/>
          </p:nvPr>
        </p:nvSpPr>
        <p:spPr>
          <a:xfrm>
            <a:off x="624418" y="225403"/>
            <a:ext cx="11105433" cy="710860"/>
          </a:xfrm>
        </p:spPr>
        <p:txBody>
          <a:bodyPr>
            <a:noAutofit/>
          </a:bodyPr>
          <a:lstStyle/>
          <a:p>
            <a:pPr>
              <a:lnSpc>
                <a:spcPct val="100000"/>
              </a:lnSpc>
            </a:pPr>
            <a:r>
              <a:rPr lang="de-DE" dirty="0"/>
              <a:t>Präventive Sicherheitselemente an Robotersystemen für eine Mensch-Roboter-Kooperation</a:t>
            </a:r>
          </a:p>
        </p:txBody>
      </p:sp>
      <p:pic>
        <p:nvPicPr>
          <p:cNvPr id="3" name="Grafik 2"/>
          <p:cNvPicPr>
            <a:picLocks noChangeAspect="1"/>
          </p:cNvPicPr>
          <p:nvPr/>
        </p:nvPicPr>
        <p:blipFill rotWithShape="1">
          <a:blip r:embed="rId6"/>
          <a:srcRect t="21943"/>
          <a:stretch/>
        </p:blipFill>
        <p:spPr>
          <a:xfrm>
            <a:off x="8832725" y="1175919"/>
            <a:ext cx="2897127" cy="1731392"/>
          </a:xfrm>
          <a:prstGeom prst="rect">
            <a:avLst/>
          </a:prstGeom>
          <a:noFill/>
          <a:ln>
            <a:noFill/>
          </a:ln>
        </p:spPr>
      </p:pic>
      <p:sp>
        <p:nvSpPr>
          <p:cNvPr id="4" name="Rechteck 3"/>
          <p:cNvSpPr/>
          <p:nvPr/>
        </p:nvSpPr>
        <p:spPr>
          <a:xfrm>
            <a:off x="525159" y="1025886"/>
            <a:ext cx="6474746" cy="5307350"/>
          </a:xfrm>
          <a:prstGeom prst="rect">
            <a:avLst/>
          </a:prstGeom>
        </p:spPr>
        <p:txBody>
          <a:bodyPr wrap="square">
            <a:spAutoFit/>
          </a:bodyPr>
          <a:lstStyle/>
          <a:p>
            <a:pPr marL="266693" indent="-266693" fontAlgn="base">
              <a:spcBef>
                <a:spcPct val="30000"/>
              </a:spcBef>
              <a:spcAft>
                <a:spcPct val="20000"/>
              </a:spcAft>
              <a:buSzPct val="90000"/>
              <a:buFont typeface="Wingdings" pitchFamily="2" charset="2"/>
              <a:buChar char="n"/>
              <a:tabLst>
                <a:tab pos="266693" algn="l"/>
                <a:tab pos="631810" algn="l"/>
                <a:tab pos="981050" algn="l"/>
              </a:tabLst>
            </a:pPr>
            <a:r>
              <a:rPr lang="de-DE" sz="2133" kern="0" dirty="0">
                <a:latin typeface="+mj-lt"/>
              </a:rPr>
              <a:t>Dämpfende Schutzeinrichtungen an exponierten Stellen des Robotersystems</a:t>
            </a:r>
          </a:p>
          <a:p>
            <a:pPr marL="266693" indent="-266693" fontAlgn="base">
              <a:spcBef>
                <a:spcPct val="30000"/>
              </a:spcBef>
              <a:spcAft>
                <a:spcPct val="20000"/>
              </a:spcAft>
              <a:buSzPct val="90000"/>
              <a:buFont typeface="Wingdings" pitchFamily="2" charset="2"/>
              <a:buChar char="n"/>
              <a:tabLst>
                <a:tab pos="266693" algn="l"/>
                <a:tab pos="631810" algn="l"/>
                <a:tab pos="981050" algn="l"/>
              </a:tabLst>
            </a:pPr>
            <a:r>
              <a:rPr lang="de-DE" sz="2133" kern="0" dirty="0">
                <a:latin typeface="+mj-lt"/>
              </a:rPr>
              <a:t>Bei der Kollision eines Gegenstandes mit einem Roboterarm sorgen taktile Schaltelemente dafür, dass der Roboter seine Bewegung unverzüglich stoppt.</a:t>
            </a:r>
          </a:p>
          <a:p>
            <a:pPr marL="266693" indent="-266693" fontAlgn="base">
              <a:spcBef>
                <a:spcPct val="30000"/>
              </a:spcBef>
              <a:spcAft>
                <a:spcPct val="20000"/>
              </a:spcAft>
              <a:buSzPct val="90000"/>
              <a:buFont typeface="Wingdings" pitchFamily="2" charset="2"/>
              <a:buChar char="n"/>
              <a:tabLst>
                <a:tab pos="266693" algn="l"/>
                <a:tab pos="631810" algn="l"/>
                <a:tab pos="981050" algn="l"/>
              </a:tabLst>
            </a:pPr>
            <a:r>
              <a:rPr lang="de-DE" sz="2133" kern="0" dirty="0">
                <a:latin typeface="+mj-lt"/>
              </a:rPr>
              <a:t>Konstruktive Sicherheit des Greifers</a:t>
            </a:r>
          </a:p>
          <a:p>
            <a:pPr marL="266693" indent="-266693" fontAlgn="base">
              <a:spcBef>
                <a:spcPct val="30000"/>
              </a:spcBef>
              <a:spcAft>
                <a:spcPct val="20000"/>
              </a:spcAft>
              <a:buSzPct val="90000"/>
              <a:buFont typeface="Wingdings" pitchFamily="2" charset="2"/>
              <a:buChar char="n"/>
              <a:tabLst>
                <a:tab pos="266693" algn="l"/>
                <a:tab pos="631810" algn="l"/>
                <a:tab pos="981050" algn="l"/>
              </a:tabLst>
            </a:pPr>
            <a:r>
              <a:rPr lang="de-DE" sz="2133" kern="0" dirty="0">
                <a:latin typeface="+mj-lt"/>
              </a:rPr>
              <a:t>Absicherung des TCPs durch abgewendetes Verfahren des Greifers gegenüber dem Menschen</a:t>
            </a:r>
          </a:p>
          <a:p>
            <a:pPr marL="266693" indent="-266693" defTabSz="179388" fontAlgn="base">
              <a:spcBef>
                <a:spcPct val="30000"/>
              </a:spcBef>
              <a:spcAft>
                <a:spcPct val="20000"/>
              </a:spcAft>
              <a:buSzPct val="90000"/>
              <a:buFont typeface="Wingdings" pitchFamily="2" charset="2"/>
              <a:buChar char="n"/>
              <a:tabLst>
                <a:tab pos="265113" algn="l"/>
                <a:tab pos="266700" algn="l"/>
              </a:tabLst>
            </a:pPr>
            <a:r>
              <a:rPr lang="de-DE" sz="2133" kern="0" dirty="0">
                <a:latin typeface="+mj-lt"/>
              </a:rPr>
              <a:t>Verfahren des Greifers unterhalb 										des Kopf/Hals Bereichs</a:t>
            </a:r>
            <a:r>
              <a:rPr lang="de-DE" dirty="0"/>
              <a:t>			</a:t>
            </a:r>
          </a:p>
          <a:p>
            <a:endParaRPr lang="de-DE" dirty="0"/>
          </a:p>
          <a:p>
            <a:r>
              <a:rPr lang="de-DE" dirty="0"/>
              <a:t>				</a:t>
            </a:r>
          </a:p>
        </p:txBody>
      </p:sp>
      <p:pic>
        <p:nvPicPr>
          <p:cNvPr id="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34026"/>
          <a:stretch/>
        </p:blipFill>
        <p:spPr bwMode="auto">
          <a:xfrm>
            <a:off x="9570851" y="3096980"/>
            <a:ext cx="2159000" cy="2140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Kickerbox"/>
          <p:cNvSpPr txBox="1">
            <a:spLocks noChangeArrowheads="1"/>
          </p:cNvSpPr>
          <p:nvPr/>
        </p:nvSpPr>
        <p:spPr bwMode="gray">
          <a:xfrm>
            <a:off x="525159" y="5736484"/>
            <a:ext cx="9469439" cy="584775"/>
          </a:xfrm>
          <a:prstGeom prst="rect">
            <a:avLst/>
          </a:prstGeom>
          <a:noFill/>
          <a:ln w="21590">
            <a:solidFill>
              <a:schemeClr val="accent2">
                <a:lumMod val="50000"/>
              </a:schemeClr>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p>
            <a:pPr algn="ctr"/>
            <a:r>
              <a:rPr lang="de-DE" sz="1600" dirty="0"/>
              <a:t>Präventive Sicherheitselemente tragen zur Minimierung des Sicherheitsrisikos in der Mensch-Roboter-Kooperation bei.</a:t>
            </a:r>
          </a:p>
        </p:txBody>
      </p:sp>
      <p:pic>
        <p:nvPicPr>
          <p:cNvPr id="9" name="Picture 6" descr="Bild1">
            <a:hlinkClick r:id="rId8" action="ppaction://hlinkfile"/>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504627" y="5561243"/>
            <a:ext cx="1011237"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Quelle"/>
          <p:cNvSpPr txBox="1">
            <a:spLocks noChangeArrowheads="1"/>
          </p:cNvSpPr>
          <p:nvPr/>
        </p:nvSpPr>
        <p:spPr bwMode="auto">
          <a:xfrm>
            <a:off x="8027328" y="6458326"/>
            <a:ext cx="9467851" cy="20005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anchor="b">
            <a:spAutoFit/>
          </a:bodyPr>
          <a:lstStyle/>
          <a:p>
            <a:r>
              <a:rPr lang="de-DE" sz="1000" dirty="0"/>
              <a:t>Video: MRK-Systeme Bildquelle: MRK-Systeme</a:t>
            </a:r>
          </a:p>
        </p:txBody>
      </p:sp>
      <p:cxnSp>
        <p:nvCxnSpPr>
          <p:cNvPr id="15" name="Gerade Verbindung mit Pfeil 14"/>
          <p:cNvCxnSpPr>
            <a:stCxn id="13" idx="3"/>
          </p:cNvCxnSpPr>
          <p:nvPr/>
        </p:nvCxnSpPr>
        <p:spPr bwMode="auto">
          <a:xfrm flipV="1">
            <a:off x="10086459" y="1759649"/>
            <a:ext cx="923787" cy="203292"/>
          </a:xfrm>
          <a:prstGeom prst="straightConnector1">
            <a:avLst/>
          </a:prstGeom>
          <a:solidFill>
            <a:srgbClr val="DDDDDD"/>
          </a:solidFill>
          <a:ln w="3810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 name="Gerade Verbindung mit Pfeil 16"/>
          <p:cNvCxnSpPr>
            <a:stCxn id="12" idx="2"/>
          </p:cNvCxnSpPr>
          <p:nvPr/>
        </p:nvCxnSpPr>
        <p:spPr bwMode="auto">
          <a:xfrm>
            <a:off x="10020200" y="3550593"/>
            <a:ext cx="1135350" cy="125850"/>
          </a:xfrm>
          <a:prstGeom prst="straightConnector1">
            <a:avLst/>
          </a:prstGeom>
          <a:solidFill>
            <a:srgbClr val="DDDDDD"/>
          </a:solidFill>
          <a:ln w="3810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4" name="Grafik 13"/>
          <p:cNvPicPr>
            <a:picLocks noChangeAspect="1"/>
          </p:cNvPicPr>
          <p:nvPr/>
        </p:nvPicPr>
        <p:blipFill>
          <a:blip r:embed="rId10"/>
          <a:stretch>
            <a:fillRect/>
          </a:stretch>
        </p:blipFill>
        <p:spPr>
          <a:xfrm>
            <a:off x="6759980" y="3888656"/>
            <a:ext cx="2503201" cy="971137"/>
          </a:xfrm>
          <a:prstGeom prst="rect">
            <a:avLst/>
          </a:prstGeom>
        </p:spPr>
      </p:pic>
      <p:cxnSp>
        <p:nvCxnSpPr>
          <p:cNvPr id="18" name="Gerader Verbinder 17"/>
          <p:cNvCxnSpPr/>
          <p:nvPr/>
        </p:nvCxnSpPr>
        <p:spPr bwMode="auto">
          <a:xfrm flipH="1">
            <a:off x="9263179" y="3804155"/>
            <a:ext cx="1584699" cy="95189"/>
          </a:xfrm>
          <a:prstGeom prst="line">
            <a:avLst/>
          </a:prstGeom>
          <a:solidFill>
            <a:srgbClr val="DDDDDD"/>
          </a:solidFill>
          <a:ln w="2857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Rechteck 18"/>
          <p:cNvSpPr/>
          <p:nvPr/>
        </p:nvSpPr>
        <p:spPr bwMode="auto">
          <a:xfrm rot="21034489">
            <a:off x="10844776" y="3728002"/>
            <a:ext cx="762152" cy="220815"/>
          </a:xfrm>
          <a:prstGeom prst="rect">
            <a:avLst/>
          </a:prstGeom>
          <a:noFill/>
          <a:ln w="38100"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de-DE" dirty="0">
              <a:latin typeface="Arial" charset="0"/>
            </a:endParaRPr>
          </a:p>
        </p:txBody>
      </p:sp>
      <p:cxnSp>
        <p:nvCxnSpPr>
          <p:cNvPr id="22" name="Gerader Verbinder 21"/>
          <p:cNvCxnSpPr/>
          <p:nvPr/>
        </p:nvCxnSpPr>
        <p:spPr bwMode="auto">
          <a:xfrm flipH="1">
            <a:off x="9263181" y="4027057"/>
            <a:ext cx="1602001" cy="825713"/>
          </a:xfrm>
          <a:prstGeom prst="line">
            <a:avLst/>
          </a:prstGeom>
          <a:solidFill>
            <a:srgbClr val="DDDDDD"/>
          </a:solidFill>
          <a:ln w="2857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Gerade Verbindung mit Pfeil 30"/>
          <p:cNvCxnSpPr/>
          <p:nvPr/>
        </p:nvCxnSpPr>
        <p:spPr bwMode="auto">
          <a:xfrm flipH="1">
            <a:off x="7857343" y="3550594"/>
            <a:ext cx="2202511" cy="857279"/>
          </a:xfrm>
          <a:prstGeom prst="straightConnector1">
            <a:avLst/>
          </a:prstGeom>
          <a:solidFill>
            <a:srgbClr val="DDDDDD"/>
          </a:solidFill>
          <a:ln w="3810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Textfeld 15"/>
          <p:cNvSpPr txBox="1"/>
          <p:nvPr/>
        </p:nvSpPr>
        <p:spPr>
          <a:xfrm>
            <a:off x="7365494" y="5027738"/>
            <a:ext cx="1118896" cy="307777"/>
          </a:xfrm>
          <a:prstGeom prst="rect">
            <a:avLst/>
          </a:prstGeom>
          <a:noFill/>
        </p:spPr>
        <p:txBody>
          <a:bodyPr wrap="none" rtlCol="0">
            <a:spAutoFit/>
          </a:bodyPr>
          <a:lstStyle/>
          <a:p>
            <a:r>
              <a:rPr lang="de-DE" sz="1400" dirty="0" err="1"/>
              <a:t>Greiferfinger</a:t>
            </a:r>
            <a:endParaRPr lang="de-DE" sz="1400" dirty="0"/>
          </a:p>
        </p:txBody>
      </p:sp>
      <p:cxnSp>
        <p:nvCxnSpPr>
          <p:cNvPr id="21" name="Gerade Verbindung mit Pfeil 20"/>
          <p:cNvCxnSpPr/>
          <p:nvPr/>
        </p:nvCxnSpPr>
        <p:spPr bwMode="auto">
          <a:xfrm flipH="1" flipV="1">
            <a:off x="7789071" y="4723366"/>
            <a:ext cx="101903" cy="347351"/>
          </a:xfrm>
          <a:prstGeom prst="straightConnector1">
            <a:avLst/>
          </a:prstGeom>
          <a:solidFill>
            <a:srgbClr val="DDDDDD"/>
          </a:solidFill>
          <a:ln w="38100" cap="flat" cmpd="sng" algn="ctr">
            <a:solidFill>
              <a:schemeClr val="accent4"/>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 name="Textfeld 24"/>
          <p:cNvSpPr txBox="1"/>
          <p:nvPr/>
        </p:nvSpPr>
        <p:spPr>
          <a:xfrm>
            <a:off x="7976686" y="3349548"/>
            <a:ext cx="695703" cy="307777"/>
          </a:xfrm>
          <a:prstGeom prst="rect">
            <a:avLst/>
          </a:prstGeom>
          <a:noFill/>
        </p:spPr>
        <p:txBody>
          <a:bodyPr wrap="none" rtlCol="0">
            <a:spAutoFit/>
          </a:bodyPr>
          <a:lstStyle/>
          <a:p>
            <a:r>
              <a:rPr lang="de-DE" sz="1400" dirty="0"/>
              <a:t>Bauteil</a:t>
            </a:r>
          </a:p>
        </p:txBody>
      </p:sp>
      <p:cxnSp>
        <p:nvCxnSpPr>
          <p:cNvPr id="26" name="Gerade Verbindung mit Pfeil 25"/>
          <p:cNvCxnSpPr>
            <a:stCxn id="25" idx="2"/>
          </p:cNvCxnSpPr>
          <p:nvPr/>
        </p:nvCxnSpPr>
        <p:spPr bwMode="auto">
          <a:xfrm flipH="1">
            <a:off x="7549680" y="3657325"/>
            <a:ext cx="774858" cy="910007"/>
          </a:xfrm>
          <a:prstGeom prst="straightConnector1">
            <a:avLst/>
          </a:prstGeom>
          <a:solidFill>
            <a:srgbClr val="DDDDDD"/>
          </a:solidFill>
          <a:ln w="38100" cap="flat" cmpd="sng" algn="ctr">
            <a:solidFill>
              <a:schemeClr val="accent4"/>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Textfeld 11"/>
          <p:cNvSpPr txBox="1"/>
          <p:nvPr/>
        </p:nvSpPr>
        <p:spPr>
          <a:xfrm>
            <a:off x="9674015" y="3242816"/>
            <a:ext cx="692369" cy="307777"/>
          </a:xfrm>
          <a:prstGeom prst="rect">
            <a:avLst/>
          </a:prstGeom>
          <a:solidFill>
            <a:schemeClr val="bg1"/>
          </a:solidFill>
        </p:spPr>
        <p:txBody>
          <a:bodyPr wrap="none" rtlCol="0">
            <a:spAutoFit/>
          </a:bodyPr>
          <a:lstStyle/>
          <a:p>
            <a:r>
              <a:rPr lang="de-DE" sz="1400" dirty="0"/>
              <a:t>Greifer</a:t>
            </a:r>
          </a:p>
        </p:txBody>
      </p:sp>
      <p:sp>
        <p:nvSpPr>
          <p:cNvPr id="13" name="Textfeld 12"/>
          <p:cNvSpPr txBox="1"/>
          <p:nvPr/>
        </p:nvSpPr>
        <p:spPr>
          <a:xfrm>
            <a:off x="8808417" y="1809052"/>
            <a:ext cx="1278042" cy="307777"/>
          </a:xfrm>
          <a:prstGeom prst="rect">
            <a:avLst/>
          </a:prstGeom>
          <a:solidFill>
            <a:schemeClr val="bg1"/>
          </a:solidFill>
        </p:spPr>
        <p:txBody>
          <a:bodyPr wrap="none" rtlCol="0">
            <a:spAutoFit/>
          </a:bodyPr>
          <a:lstStyle/>
          <a:p>
            <a:r>
              <a:rPr lang="de-DE" sz="1400" dirty="0"/>
              <a:t>Robotersystem</a:t>
            </a:r>
          </a:p>
        </p:txBody>
      </p:sp>
      <p:sp>
        <p:nvSpPr>
          <p:cNvPr id="7" name="Fußzeilenplatzhalter 6"/>
          <p:cNvSpPr>
            <a:spLocks noGrp="1"/>
          </p:cNvSpPr>
          <p:nvPr>
            <p:ph type="ftr" sz="quarter" idx="15"/>
          </p:nvPr>
        </p:nvSpPr>
        <p:spPr/>
        <p:txBody>
          <a:bodyPr/>
          <a:lstStyle/>
          <a:p>
            <a:pPr defTabSz="582069"/>
            <a:r>
              <a:rPr lang="de-DE"/>
              <a:t>Automation II</a:t>
            </a:r>
            <a:endParaRPr lang="de-DE" dirty="0"/>
          </a:p>
        </p:txBody>
      </p:sp>
      <p:sp>
        <p:nvSpPr>
          <p:cNvPr id="20" name="Foliennummernplatzhalter 19"/>
          <p:cNvSpPr>
            <a:spLocks noGrp="1"/>
          </p:cNvSpPr>
          <p:nvPr>
            <p:ph type="sldNum" sz="quarter" idx="16"/>
          </p:nvPr>
        </p:nvSpPr>
        <p:spPr/>
        <p:txBody>
          <a:bodyPr/>
          <a:lstStyle/>
          <a:p>
            <a:fld id="{1E6235D0-FF99-C045-995D-75C61122D1C1}" type="slidenum">
              <a:rPr lang="de-DE" smtClean="0"/>
              <a:pPr/>
              <a:t>38</a:t>
            </a:fld>
            <a:endParaRPr lang="de-DE" dirty="0"/>
          </a:p>
        </p:txBody>
      </p:sp>
    </p:spTree>
    <p:extLst>
      <p:ext uri="{BB962C8B-B14F-4D97-AF65-F5344CB8AC3E}">
        <p14:creationId xmlns:p14="http://schemas.microsoft.com/office/powerpoint/2010/main" val="27159711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86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20000" mute="1" showWhenStopped="0">
                <p:cTn id="7" fill="hold" display="0">
                  <p:stCondLst>
                    <p:cond delay="indefinite"/>
                  </p:stCondLst>
                </p:cTn>
                <p:tgtEl>
                  <p:spTgt spid="6"/>
                </p:tgtEl>
              </p:cMediaNode>
            </p:vide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RK Türanrollen">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47014" y="5243540"/>
            <a:ext cx="970117" cy="545691"/>
          </a:xfrm>
          <a:prstGeom prst="rect">
            <a:avLst/>
          </a:prstGeom>
        </p:spPr>
      </p:pic>
      <p:sp>
        <p:nvSpPr>
          <p:cNvPr id="2" name="Titel 1"/>
          <p:cNvSpPr>
            <a:spLocks noGrp="1"/>
          </p:cNvSpPr>
          <p:nvPr>
            <p:ph type="title"/>
          </p:nvPr>
        </p:nvSpPr>
        <p:spPr>
          <a:xfrm>
            <a:off x="624418" y="452967"/>
            <a:ext cx="9023349" cy="483296"/>
          </a:xfrm>
        </p:spPr>
        <p:txBody>
          <a:bodyPr>
            <a:normAutofit fontScale="90000"/>
          </a:bodyPr>
          <a:lstStyle/>
          <a:p>
            <a:r>
              <a:rPr lang="de-DE" dirty="0"/>
              <a:t>Das kluge Robotersystem gibt nach</a:t>
            </a:r>
          </a:p>
        </p:txBody>
      </p:sp>
      <p:sp>
        <p:nvSpPr>
          <p:cNvPr id="10" name="Fußzeilenplatzhalter 9"/>
          <p:cNvSpPr>
            <a:spLocks noGrp="1"/>
          </p:cNvSpPr>
          <p:nvPr>
            <p:ph type="ftr" sz="quarter" idx="15"/>
          </p:nvPr>
        </p:nvSpPr>
        <p:spPr/>
        <p:txBody>
          <a:bodyPr/>
          <a:lstStyle/>
          <a:p>
            <a:pPr defTabSz="582069"/>
            <a:r>
              <a:rPr lang="de-DE"/>
              <a:t>Automation II</a:t>
            </a:r>
            <a:endParaRPr lang="de-DE" dirty="0"/>
          </a:p>
        </p:txBody>
      </p:sp>
      <p:sp>
        <p:nvSpPr>
          <p:cNvPr id="11" name="Foliennummernplatzhalter 10"/>
          <p:cNvSpPr>
            <a:spLocks noGrp="1"/>
          </p:cNvSpPr>
          <p:nvPr>
            <p:ph type="sldNum" sz="quarter" idx="16"/>
          </p:nvPr>
        </p:nvSpPr>
        <p:spPr/>
        <p:txBody>
          <a:bodyPr/>
          <a:lstStyle/>
          <a:p>
            <a:fld id="{1E6235D0-FF99-C045-995D-75C61122D1C1}" type="slidenum">
              <a:rPr lang="de-DE" smtClean="0"/>
              <a:pPr/>
              <a:t>39</a:t>
            </a:fld>
            <a:endParaRPr lang="de-DE" dirty="0"/>
          </a:p>
        </p:txBody>
      </p:sp>
      <p:sp>
        <p:nvSpPr>
          <p:cNvPr id="31" name="Inhaltsplatzhalter 2"/>
          <p:cNvSpPr>
            <a:spLocks noGrp="1"/>
          </p:cNvSpPr>
          <p:nvPr>
            <p:ph idx="1"/>
          </p:nvPr>
        </p:nvSpPr>
        <p:spPr>
          <a:xfrm>
            <a:off x="465871" y="996701"/>
            <a:ext cx="10946947" cy="5040683"/>
          </a:xfrm>
        </p:spPr>
        <p:txBody>
          <a:bodyPr vert="horz" lIns="0" tIns="48768" rIns="97536" bIns="48768" rtlCol="0">
            <a:noAutofit/>
          </a:bodyPr>
          <a:lstStyle/>
          <a:p>
            <a:pPr marL="266693" indent="-266693" defTabSz="609585" fontAlgn="base">
              <a:spcBef>
                <a:spcPct val="30000"/>
              </a:spcBef>
              <a:spcAft>
                <a:spcPct val="20000"/>
              </a:spcAft>
              <a:buClrTx/>
              <a:buFont typeface="Wingdings" pitchFamily="2" charset="2"/>
              <a:buChar char="n"/>
              <a:tabLst>
                <a:tab pos="266693" algn="l"/>
                <a:tab pos="631810" algn="l"/>
                <a:tab pos="981050" algn="l"/>
              </a:tabLst>
            </a:pPr>
            <a:r>
              <a:rPr lang="de-DE" sz="2133" kern="0" dirty="0">
                <a:solidFill>
                  <a:schemeClr val="tx1"/>
                </a:solidFill>
                <a:latin typeface="+mj-lt"/>
              </a:rPr>
              <a:t>Schutz des Menschen im Kollisionsfall durch nachgiebige Elemente </a:t>
            </a:r>
          </a:p>
          <a:p>
            <a:pPr marL="266693" indent="-266693" defTabSz="609585" fontAlgn="base">
              <a:spcBef>
                <a:spcPct val="30000"/>
              </a:spcBef>
              <a:spcAft>
                <a:spcPct val="20000"/>
              </a:spcAft>
              <a:buClrTx/>
              <a:buFont typeface="Wingdings" pitchFamily="2" charset="2"/>
              <a:buChar char="n"/>
              <a:tabLst>
                <a:tab pos="266693" algn="l"/>
                <a:tab pos="631810" algn="l"/>
                <a:tab pos="981050" algn="l"/>
              </a:tabLst>
            </a:pPr>
            <a:r>
              <a:rPr lang="de-DE" sz="2133" kern="0" dirty="0">
                <a:solidFill>
                  <a:schemeClr val="tx1"/>
                </a:solidFill>
                <a:latin typeface="+mj-lt"/>
              </a:rPr>
              <a:t>Pneumatischer Kollisionsschutz oder gefederte Elemente dämpfen Kollisionen und bringen die Station mittels integrierter Sensorik in einen sicheren Zustand</a:t>
            </a:r>
          </a:p>
          <a:p>
            <a:pPr marL="266693" indent="-266693" defTabSz="609585" fontAlgn="base">
              <a:spcBef>
                <a:spcPct val="30000"/>
              </a:spcBef>
              <a:spcAft>
                <a:spcPct val="20000"/>
              </a:spcAft>
              <a:buClrTx/>
              <a:buFont typeface="Wingdings" pitchFamily="2" charset="2"/>
              <a:buChar char="n"/>
              <a:tabLst>
                <a:tab pos="266693" algn="l"/>
                <a:tab pos="631810" algn="l"/>
                <a:tab pos="981050" algn="l"/>
              </a:tabLst>
            </a:pPr>
            <a:r>
              <a:rPr lang="de-DE" sz="2133" kern="0" dirty="0">
                <a:solidFill>
                  <a:schemeClr val="tx1"/>
                </a:solidFill>
                <a:latin typeface="+mj-lt"/>
              </a:rPr>
              <a:t>Nachgiebige Elemente können an unterschiedlichen Positionen des Roboters angebracht werden</a:t>
            </a:r>
          </a:p>
        </p:txBody>
      </p:sp>
      <p:grpSp>
        <p:nvGrpSpPr>
          <p:cNvPr id="32" name="Gruppieren 31"/>
          <p:cNvGrpSpPr>
            <a:grpSpLocks/>
          </p:cNvGrpSpPr>
          <p:nvPr/>
        </p:nvGrpSpPr>
        <p:grpSpPr>
          <a:xfrm>
            <a:off x="393889" y="3031410"/>
            <a:ext cx="17564663" cy="3651233"/>
            <a:chOff x="236127" y="2523487"/>
            <a:chExt cx="16466870" cy="3423031"/>
          </a:xfrm>
        </p:grpSpPr>
        <p:pic>
          <p:nvPicPr>
            <p:cNvPr id="33" name="Picture 7" descr="C:\Users\m.scholer\Desktop\Bilder und Videos\Bilder MRK 0908\IMG_7443.JP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r="14039" b="8025"/>
            <a:stretch/>
          </p:blipFill>
          <p:spPr bwMode="auto">
            <a:xfrm>
              <a:off x="597339" y="3175532"/>
              <a:ext cx="3041010" cy="2169162"/>
            </a:xfrm>
            <a:prstGeom prst="rect">
              <a:avLst/>
            </a:prstGeom>
            <a:noFill/>
            <a:extLst>
              <a:ext uri="{909E8E84-426E-40DD-AFC4-6F175D3DCCD1}">
                <a14:hiddenFill xmlns:a14="http://schemas.microsoft.com/office/drawing/2010/main">
                  <a:solidFill>
                    <a:srgbClr val="FFFFFF"/>
                  </a:solidFill>
                </a14:hiddenFill>
              </a:ext>
            </a:extLst>
          </p:spPr>
        </p:pic>
        <p:sp>
          <p:nvSpPr>
            <p:cNvPr id="34" name="Rechteck 33"/>
            <p:cNvSpPr/>
            <p:nvPr/>
          </p:nvSpPr>
          <p:spPr bwMode="auto">
            <a:xfrm>
              <a:off x="597339" y="2574146"/>
              <a:ext cx="1323841" cy="1141429"/>
            </a:xfrm>
            <a:prstGeom prst="rect">
              <a:avLst/>
            </a:prstGeom>
            <a:solidFill>
              <a:schemeClr val="bg1"/>
            </a:solidFill>
            <a:ln w="8636" cap="flat" cmpd="sng" algn="ctr">
              <a:solidFill>
                <a:schemeClr val="bg1"/>
              </a:solidFill>
              <a:prstDash val="solid"/>
              <a:round/>
              <a:headEnd type="none" w="med" len="med"/>
              <a:tailEnd type="none" w="med" len="med"/>
            </a:ln>
            <a:effectLst/>
          </p:spPr>
          <p:txBody>
            <a:bodyPr rot="0" spcFirstLastPara="0" vertOverflow="overflow" horzOverflow="overflow" vert="horz" wrap="square" lIns="97536" tIns="48768" rIns="97536" bIns="48768"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Arial" charset="0"/>
              </a:endParaRPr>
            </a:p>
          </p:txBody>
        </p:sp>
        <p:pic>
          <p:nvPicPr>
            <p:cNvPr id="35" name="Picture 2" descr="Seri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10800000">
              <a:off x="704532" y="2603727"/>
              <a:ext cx="956723" cy="1082266"/>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Gerade Verbindung mit Pfeil 35"/>
            <p:cNvCxnSpPr/>
            <p:nvPr/>
          </p:nvCxnSpPr>
          <p:spPr bwMode="auto">
            <a:xfrm flipV="1">
              <a:off x="1661255" y="3320716"/>
              <a:ext cx="1523682" cy="38502"/>
            </a:xfrm>
            <a:prstGeom prst="straightConnector1">
              <a:avLst/>
            </a:prstGeom>
            <a:solidFill>
              <a:srgbClr val="DDDDDD"/>
            </a:solidFill>
            <a:ln w="30480" cap="flat" cmpd="sng" algn="ctr">
              <a:solidFill>
                <a:srgbClr val="0D5893"/>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37" name="Grafik 36"/>
            <p:cNvPicPr>
              <a:picLocks noChangeAspect="1"/>
            </p:cNvPicPr>
            <p:nvPr/>
          </p:nvPicPr>
          <p:blipFill rotWithShape="1">
            <a:blip r:embed="rId9"/>
            <a:srcRect t="21371"/>
            <a:stretch/>
          </p:blipFill>
          <p:spPr>
            <a:xfrm>
              <a:off x="7461159" y="2880248"/>
              <a:ext cx="1977409" cy="2339457"/>
            </a:xfrm>
            <a:prstGeom prst="rect">
              <a:avLst/>
            </a:prstGeom>
          </p:spPr>
        </p:pic>
        <p:pic>
          <p:nvPicPr>
            <p:cNvPr id="38" name="Picture 4" descr="BMW-Werk Spartanburg"/>
            <p:cNvPicPr>
              <a:picLocks noChangeAspect="1" noChangeArrowheads="1"/>
            </p:cNvPicPr>
            <p:nvPr/>
          </p:nvPicPr>
          <p:blipFill rotWithShape="1">
            <a:blip r:embed="rId10">
              <a:extLst>
                <a:ext uri="{28A0092B-C50C-407E-A947-70E740481C1C}">
                  <a14:useLocalDpi xmlns:a14="http://schemas.microsoft.com/office/drawing/2010/main" val="0"/>
                </a:ext>
              </a:extLst>
            </a:blip>
            <a:srcRect l="39121" t="55848" r="30179" b="13662"/>
            <a:stretch/>
          </p:blipFill>
          <p:spPr bwMode="auto">
            <a:xfrm>
              <a:off x="5254680" y="3715575"/>
              <a:ext cx="2107919" cy="1393370"/>
            </a:xfrm>
            <a:prstGeom prst="rect">
              <a:avLst/>
            </a:prstGeom>
            <a:noFill/>
            <a:extLst>
              <a:ext uri="{909E8E84-426E-40DD-AFC4-6F175D3DCCD1}">
                <a14:hiddenFill xmlns:a14="http://schemas.microsoft.com/office/drawing/2010/main">
                  <a:solidFill>
                    <a:srgbClr val="FFFFFF"/>
                  </a:solidFill>
                </a14:hiddenFill>
              </a:ext>
            </a:extLst>
          </p:spPr>
        </p:pic>
        <p:sp>
          <p:nvSpPr>
            <p:cNvPr id="39" name="Textfeld 38"/>
            <p:cNvSpPr txBox="1"/>
            <p:nvPr/>
          </p:nvSpPr>
          <p:spPr>
            <a:xfrm>
              <a:off x="236127" y="5364168"/>
              <a:ext cx="4179870" cy="369332"/>
            </a:xfrm>
            <a:prstGeom prst="rect">
              <a:avLst/>
            </a:prstGeom>
            <a:noFill/>
          </p:spPr>
          <p:txBody>
            <a:bodyPr wrap="none" lIns="97536" tIns="48768" rIns="97536" bIns="48768" rtlCol="0">
              <a:spAutoFit/>
            </a:bodyPr>
            <a:lstStyle/>
            <a:p>
              <a:r>
                <a:rPr lang="de-DE" sz="1920" dirty="0"/>
                <a:t>Nachgiebiges Element an der Roboterbasis</a:t>
              </a:r>
            </a:p>
          </p:txBody>
        </p:sp>
        <p:sp>
          <p:nvSpPr>
            <p:cNvPr id="40" name="Textfeld 39"/>
            <p:cNvSpPr txBox="1"/>
            <p:nvPr/>
          </p:nvSpPr>
          <p:spPr>
            <a:xfrm>
              <a:off x="5115910" y="5364168"/>
              <a:ext cx="3949638" cy="369332"/>
            </a:xfrm>
            <a:prstGeom prst="rect">
              <a:avLst/>
            </a:prstGeom>
            <a:noFill/>
          </p:spPr>
          <p:txBody>
            <a:bodyPr wrap="none" lIns="97536" tIns="48768" rIns="97536" bIns="48768" rtlCol="0">
              <a:spAutoFit/>
            </a:bodyPr>
            <a:lstStyle/>
            <a:p>
              <a:r>
                <a:rPr lang="de-DE" sz="1920" dirty="0"/>
                <a:t>Werkzeuge mit nachgiebigen Elementen</a:t>
              </a:r>
            </a:p>
          </p:txBody>
        </p:sp>
        <p:sp>
          <p:nvSpPr>
            <p:cNvPr id="41" name="Quelle"/>
            <p:cNvSpPr txBox="1">
              <a:spLocks noChangeArrowheads="1"/>
            </p:cNvSpPr>
            <p:nvPr/>
          </p:nvSpPr>
          <p:spPr bwMode="auto">
            <a:xfrm>
              <a:off x="7235148" y="5756081"/>
              <a:ext cx="9467849" cy="19043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a:t>
              </a:r>
              <a:r>
                <a:rPr lang="de-DE" sz="1000" dirty="0" err="1"/>
                <a:t>Faude</a:t>
              </a:r>
              <a:r>
                <a:rPr lang="de-DE" sz="1000" dirty="0"/>
                <a:t>, </a:t>
              </a:r>
              <a:r>
                <a:rPr lang="de-DE" sz="1000" dirty="0" err="1"/>
                <a:t>Keba</a:t>
              </a:r>
              <a:r>
                <a:rPr lang="de-DE" sz="1000" dirty="0"/>
                <a:t>, Sommer-</a:t>
              </a:r>
              <a:r>
                <a:rPr lang="de-DE" sz="1000" dirty="0" err="1"/>
                <a:t>automatic,ZeMA</a:t>
              </a:r>
              <a:endParaRPr lang="de-DE" sz="1000" dirty="0"/>
            </a:p>
          </p:txBody>
        </p:sp>
        <p:pic>
          <p:nvPicPr>
            <p:cNvPr id="42" name="Grafik 41"/>
            <p:cNvPicPr>
              <a:picLocks noChangeAspect="1"/>
            </p:cNvPicPr>
            <p:nvPr/>
          </p:nvPicPr>
          <p:blipFill>
            <a:blip r:embed="rId11"/>
            <a:stretch>
              <a:fillRect/>
            </a:stretch>
          </p:blipFill>
          <p:spPr>
            <a:xfrm>
              <a:off x="5059866" y="2523487"/>
              <a:ext cx="877611" cy="1143282"/>
            </a:xfrm>
            <a:prstGeom prst="rect">
              <a:avLst/>
            </a:prstGeom>
          </p:spPr>
        </p:pic>
        <p:pic>
          <p:nvPicPr>
            <p:cNvPr id="43" name="Picture 6" descr="Bild1">
              <a:hlinkClick r:id="rId12" action="ppaction://hlinkfile"/>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69117" y="3120780"/>
              <a:ext cx="1011237"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096183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08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showWhenStopped="0">
                <p:cTn id="7" fill="hold" display="0">
                  <p:stCondLst>
                    <p:cond delay="indefinite"/>
                  </p:stCondLst>
                </p:cTn>
                <p:tgtEl>
                  <p:spTgt spid="4"/>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10A6DB1-76FB-D8DC-69CA-21183599E3B2}"/>
              </a:ext>
            </a:extLst>
          </p:cNvPr>
          <p:cNvSpPr>
            <a:spLocks noGrp="1"/>
          </p:cNvSpPr>
          <p:nvPr>
            <p:ph type="title"/>
          </p:nvPr>
        </p:nvSpPr>
        <p:spPr/>
        <p:txBody>
          <a:bodyPr>
            <a:normAutofit fontScale="90000"/>
          </a:bodyPr>
          <a:lstStyle/>
          <a:p>
            <a:r>
              <a:rPr lang="de-CH" sz="3200" b="1" dirty="0">
                <a:latin typeface="Arial"/>
                <a:cs typeface="Arial"/>
              </a:rPr>
              <a:t>Einleitung</a:t>
            </a:r>
            <a:r>
              <a:rPr lang="de-CH" sz="3200" b="1" spc="145" dirty="0">
                <a:latin typeface="Arial"/>
                <a:cs typeface="Arial"/>
              </a:rPr>
              <a:t> </a:t>
            </a:r>
            <a:r>
              <a:rPr lang="de-CH" sz="3200" b="1" dirty="0">
                <a:latin typeface="Arial"/>
                <a:cs typeface="Arial"/>
              </a:rPr>
              <a:t>und</a:t>
            </a:r>
            <a:r>
              <a:rPr lang="de-CH" sz="3200" b="1" spc="150" dirty="0">
                <a:latin typeface="Arial"/>
                <a:cs typeface="Arial"/>
              </a:rPr>
              <a:t> </a:t>
            </a:r>
            <a:r>
              <a:rPr lang="de-CH" sz="3200" b="1" spc="-10" dirty="0">
                <a:latin typeface="Arial"/>
                <a:cs typeface="Arial"/>
              </a:rPr>
              <a:t>Motivation</a:t>
            </a:r>
            <a:endParaRPr lang="de-CH" dirty="0"/>
          </a:p>
        </p:txBody>
      </p:sp>
      <p:sp>
        <p:nvSpPr>
          <p:cNvPr id="4" name="Fußzeilenplatzhalter 3">
            <a:extLst>
              <a:ext uri="{FF2B5EF4-FFF2-40B4-BE49-F238E27FC236}">
                <a16:creationId xmlns:a16="http://schemas.microsoft.com/office/drawing/2014/main" id="{0C105983-A4FA-ED46-7CBF-546B453F5CF8}"/>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26960B1D-0374-48E6-2294-4AEA19F0603E}"/>
              </a:ext>
            </a:extLst>
          </p:cNvPr>
          <p:cNvSpPr>
            <a:spLocks noGrp="1"/>
          </p:cNvSpPr>
          <p:nvPr>
            <p:ph type="sldNum" sz="quarter" idx="16"/>
          </p:nvPr>
        </p:nvSpPr>
        <p:spPr/>
        <p:txBody>
          <a:bodyPr/>
          <a:lstStyle/>
          <a:p>
            <a:fld id="{61F2C2C2-1EE4-4D60-B09F-2141F977BFAA}" type="slidenum">
              <a:rPr lang="de-DE" altLang="de-DE" smtClean="0"/>
              <a:pPr/>
              <a:t>4</a:t>
            </a:fld>
            <a:endParaRPr lang="de-DE" altLang="de-DE"/>
          </a:p>
        </p:txBody>
      </p:sp>
      <p:sp>
        <p:nvSpPr>
          <p:cNvPr id="8" name="Textfeld 7">
            <a:extLst>
              <a:ext uri="{FF2B5EF4-FFF2-40B4-BE49-F238E27FC236}">
                <a16:creationId xmlns:a16="http://schemas.microsoft.com/office/drawing/2014/main" id="{9E79A1AD-044A-C2AC-FD8D-10DE5B7FC96E}"/>
              </a:ext>
            </a:extLst>
          </p:cNvPr>
          <p:cNvSpPr txBox="1"/>
          <p:nvPr/>
        </p:nvSpPr>
        <p:spPr>
          <a:xfrm>
            <a:off x="10736580" y="5983724"/>
            <a:ext cx="1115896" cy="215444"/>
          </a:xfrm>
          <a:prstGeom prst="rect">
            <a:avLst/>
          </a:prstGeom>
          <a:noFill/>
        </p:spPr>
        <p:txBody>
          <a:bodyPr wrap="square">
            <a:spAutoFit/>
          </a:bodyPr>
          <a:lstStyle/>
          <a:p>
            <a:pPr marL="12700">
              <a:spcBef>
                <a:spcPts val="390"/>
              </a:spcBef>
            </a:pPr>
            <a:r>
              <a:rPr lang="de-CH" sz="800" spc="-10" dirty="0" err="1">
                <a:latin typeface="Arial"/>
                <a:cs typeface="Arial"/>
              </a:rPr>
              <a:t>Quelle:</a:t>
            </a:r>
            <a:r>
              <a:rPr lang="de-CH" sz="800" spc="-10" dirty="0" err="1">
                <a:latin typeface="Arial"/>
                <a:cs typeface="Arial"/>
                <a:hlinkClick r:id="rId2">
                  <a:extLst>
                    <a:ext uri="{A12FA001-AC4F-418D-AE19-62706E023703}">
                      <ahyp:hlinkClr xmlns:ahyp="http://schemas.microsoft.com/office/drawing/2018/hyperlinkcolor" val="tx"/>
                    </a:ext>
                  </a:extLst>
                </a:hlinkClick>
              </a:rPr>
              <a:t>www.suva.ch</a:t>
            </a:r>
            <a:endParaRPr lang="de-CH" sz="800" dirty="0">
              <a:latin typeface="Arial"/>
              <a:cs typeface="Arial"/>
            </a:endParaRPr>
          </a:p>
        </p:txBody>
      </p:sp>
      <p:pic>
        <p:nvPicPr>
          <p:cNvPr id="2" name="Grafik 1" descr="P28#yIS1">
            <a:extLst>
              <a:ext uri="{FF2B5EF4-FFF2-40B4-BE49-F238E27FC236}">
                <a16:creationId xmlns:a16="http://schemas.microsoft.com/office/drawing/2014/main" id="{D7FCEC39-C48A-532F-01EA-1FAD5FF5A16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71170" y="1104899"/>
            <a:ext cx="7415672" cy="5567459"/>
          </a:xfrm>
          <a:prstGeom prst="rect">
            <a:avLst/>
          </a:prstGeom>
          <a:noFill/>
        </p:spPr>
      </p:pic>
    </p:spTree>
    <p:extLst>
      <p:ext uri="{BB962C8B-B14F-4D97-AF65-F5344CB8AC3E}">
        <p14:creationId xmlns:p14="http://schemas.microsoft.com/office/powerpoint/2010/main" val="1863733049"/>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452967"/>
            <a:ext cx="9023349" cy="483296"/>
          </a:xfrm>
        </p:spPr>
        <p:txBody>
          <a:bodyPr>
            <a:normAutofit fontScale="90000"/>
          </a:bodyPr>
          <a:lstStyle/>
          <a:p>
            <a:pPr>
              <a:lnSpc>
                <a:spcPct val="100000"/>
              </a:lnSpc>
            </a:pPr>
            <a:r>
              <a:rPr lang="de-DE" dirty="0"/>
              <a:t>Maßnahmen zur Absicherung eines MRK-Werkzeugs</a:t>
            </a:r>
          </a:p>
        </p:txBody>
      </p:sp>
      <p:sp>
        <p:nvSpPr>
          <p:cNvPr id="6" name="Fußzeilenplatzhalter 5"/>
          <p:cNvSpPr>
            <a:spLocks noGrp="1"/>
          </p:cNvSpPr>
          <p:nvPr>
            <p:ph type="ftr" sz="quarter" idx="15"/>
          </p:nvPr>
        </p:nvSpPr>
        <p:spPr/>
        <p:txBody>
          <a:bodyPr/>
          <a:lstStyle/>
          <a:p>
            <a:pPr defTabSz="582069"/>
            <a:r>
              <a:rPr lang="de-DE"/>
              <a:t>Automation II</a:t>
            </a:r>
            <a:endParaRPr lang="de-DE" dirty="0"/>
          </a:p>
        </p:txBody>
      </p:sp>
      <p:sp>
        <p:nvSpPr>
          <p:cNvPr id="9" name="Foliennummernplatzhalter 8"/>
          <p:cNvSpPr>
            <a:spLocks noGrp="1"/>
          </p:cNvSpPr>
          <p:nvPr>
            <p:ph type="sldNum" sz="quarter" idx="16"/>
          </p:nvPr>
        </p:nvSpPr>
        <p:spPr/>
        <p:txBody>
          <a:bodyPr/>
          <a:lstStyle/>
          <a:p>
            <a:fld id="{1E6235D0-FF99-C045-995D-75C61122D1C1}" type="slidenum">
              <a:rPr lang="de-DE" smtClean="0"/>
              <a:pPr/>
              <a:t>40</a:t>
            </a:fld>
            <a:endParaRPr lang="de-DE" dirty="0"/>
          </a:p>
        </p:txBody>
      </p:sp>
      <p:sp>
        <p:nvSpPr>
          <p:cNvPr id="14" name="Inhaltsplatzhalter 2"/>
          <p:cNvSpPr txBox="1">
            <a:spLocks/>
          </p:cNvSpPr>
          <p:nvPr/>
        </p:nvSpPr>
        <p:spPr>
          <a:xfrm>
            <a:off x="3970444" y="1151468"/>
            <a:ext cx="7523055" cy="4341573"/>
          </a:xfrm>
          <a:prstGeom prst="rect">
            <a:avLst/>
          </a:prstGeom>
        </p:spPr>
        <p:txBody>
          <a:bodyPr wrap="square" lIns="97536" tIns="48768" rIns="97536" bIns="48768">
            <a:spAutoFit/>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355591" lvl="1" indent="-355591">
              <a:spcBef>
                <a:spcPct val="30000"/>
              </a:spcBef>
              <a:buSzPct val="90000"/>
              <a:buFont typeface="Wingdings" pitchFamily="2" charset="2"/>
              <a:buChar char="n"/>
            </a:pPr>
            <a:r>
              <a:rPr lang="de-DE" sz="2133" kern="0" dirty="0">
                <a:latin typeface="+mj-lt"/>
              </a:rPr>
              <a:t>Passive Umhausung des Werkzeuges reduziert Quetsch und Scherstellen sowie scharfe Kanten und enge Radien</a:t>
            </a:r>
          </a:p>
          <a:p>
            <a:pPr marL="355591" lvl="1" indent="-355591">
              <a:spcBef>
                <a:spcPct val="30000"/>
              </a:spcBef>
              <a:buSzPct val="90000"/>
              <a:buFont typeface="Wingdings" pitchFamily="2" charset="2"/>
              <a:buChar char="n"/>
            </a:pPr>
            <a:r>
              <a:rPr lang="de-DE" sz="2133" kern="0" dirty="0">
                <a:latin typeface="+mj-lt"/>
              </a:rPr>
              <a:t>Aktive Umhausung des Werkzeuges ist mit einer integrierten Sensorik (Kapazitiv- oder </a:t>
            </a:r>
            <a:r>
              <a:rPr lang="de-DE" sz="2133" kern="0" dirty="0" err="1">
                <a:latin typeface="+mj-lt"/>
              </a:rPr>
              <a:t>Drucksensorik</a:t>
            </a:r>
            <a:r>
              <a:rPr lang="de-DE" sz="2133" kern="0" dirty="0">
                <a:latin typeface="+mj-lt"/>
              </a:rPr>
              <a:t>) ausgestattet und ermöglicht zusätzlich zum </a:t>
            </a:r>
            <a:r>
              <a:rPr lang="de-DE" sz="2133" kern="0" dirty="0" err="1">
                <a:latin typeface="+mj-lt"/>
              </a:rPr>
              <a:t>Umhausungsschutz</a:t>
            </a:r>
            <a:r>
              <a:rPr lang="de-DE" sz="2133" kern="0" dirty="0">
                <a:latin typeface="+mj-lt"/>
              </a:rPr>
              <a:t> eine Kollisionsüberwachung</a:t>
            </a:r>
            <a:endParaRPr lang="de-DE" sz="1707" kern="0" dirty="0"/>
          </a:p>
          <a:p>
            <a:pPr>
              <a:buClr>
                <a:schemeClr val="tx1"/>
              </a:buClr>
            </a:pPr>
            <a:r>
              <a:rPr lang="de-DE" sz="2133" kern="0" dirty="0">
                <a:latin typeface="+mj-lt"/>
              </a:rPr>
              <a:t>Werkzeug kann in der </a:t>
            </a:r>
            <a:r>
              <a:rPr lang="de-DE" sz="2133" kern="0" dirty="0" err="1">
                <a:latin typeface="+mj-lt"/>
              </a:rPr>
              <a:t>Umhausung</a:t>
            </a:r>
            <a:r>
              <a:rPr lang="de-DE" sz="2133" kern="0" dirty="0">
                <a:latin typeface="+mj-lt"/>
              </a:rPr>
              <a:t> verborgen werden</a:t>
            </a:r>
          </a:p>
          <a:p>
            <a:pPr marL="673930" lvl="1" indent="-198115"/>
            <a:r>
              <a:rPr lang="de-DE" sz="1867" kern="0" dirty="0"/>
              <a:t>Werkzeug kann bei Nichtbenutzung in ein Gehäuse zurückgezogen werden</a:t>
            </a:r>
          </a:p>
          <a:p>
            <a:pPr marL="673930" lvl="1" indent="-198115"/>
            <a:r>
              <a:rPr lang="de-DE" sz="1867" kern="0" dirty="0"/>
              <a:t>Gefährdung durch Werkzeug wird reduziert</a:t>
            </a:r>
          </a:p>
          <a:p>
            <a:pPr marL="673930" lvl="1" indent="-198115"/>
            <a:r>
              <a:rPr lang="de-DE" sz="1867" kern="0" dirty="0"/>
              <a:t>Bei Eingezogenem Werkzeug sind höhere </a:t>
            </a:r>
            <a:r>
              <a:rPr lang="de-DE" sz="1867" kern="0" dirty="0" err="1"/>
              <a:t>Verfahrgeschwindigkeiten</a:t>
            </a:r>
            <a:r>
              <a:rPr lang="de-DE" sz="1867" kern="0" dirty="0"/>
              <a:t> möglich</a:t>
            </a:r>
          </a:p>
        </p:txBody>
      </p:sp>
      <p:pic>
        <p:nvPicPr>
          <p:cNvPr id="16" name="Picture 14" descr="Taktilsensorik - Sichere Kollisionserkennung"/>
          <p:cNvPicPr>
            <a:picLocks noChangeAspect="1" noChangeArrowheads="1"/>
          </p:cNvPicPr>
          <p:nvPr/>
        </p:nvPicPr>
        <p:blipFill rotWithShape="1">
          <a:blip r:embed="rId3">
            <a:extLst>
              <a:ext uri="{28A0092B-C50C-407E-A947-70E740481C1C}">
                <a14:useLocalDpi xmlns:a14="http://schemas.microsoft.com/office/drawing/2010/main" val="0"/>
              </a:ext>
            </a:extLst>
          </a:blip>
          <a:srcRect l="18300" r="37017"/>
          <a:stretch/>
        </p:blipFill>
        <p:spPr bwMode="auto">
          <a:xfrm>
            <a:off x="2039463" y="3185170"/>
            <a:ext cx="1755164" cy="1574188"/>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p:cNvSpPr txBox="1"/>
          <p:nvPr/>
        </p:nvSpPr>
        <p:spPr>
          <a:xfrm>
            <a:off x="8176037" y="6424320"/>
            <a:ext cx="10099040"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n: MRK-Systeme, Audi, </a:t>
            </a:r>
            <a:r>
              <a:rPr lang="de-DE" sz="1000" dirty="0" err="1"/>
              <a:t>IFF,Weber</a:t>
            </a:r>
            <a:endParaRPr lang="de-DE" sz="1000" dirty="0"/>
          </a:p>
        </p:txBody>
      </p:sp>
      <p:pic>
        <p:nvPicPr>
          <p:cNvPr id="18" name="Grafik 1" descr="Freundebild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7524" y="4842521"/>
            <a:ext cx="2807101" cy="1578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Gerade Verbindung mit Pfeil 19"/>
          <p:cNvCxnSpPr/>
          <p:nvPr/>
        </p:nvCxnSpPr>
        <p:spPr bwMode="auto">
          <a:xfrm>
            <a:off x="2421999" y="5193925"/>
            <a:ext cx="193469" cy="1020363"/>
          </a:xfrm>
          <a:prstGeom prst="straightConnector1">
            <a:avLst/>
          </a:prstGeom>
          <a:solidFill>
            <a:srgbClr val="DDDDDD"/>
          </a:solidFill>
          <a:ln w="45720" cap="flat" cmpd="sng" algn="ctr">
            <a:solidFill>
              <a:srgbClr val="0D5893"/>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4" name="Grafik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83524" y="1515521"/>
            <a:ext cx="1705827" cy="3256136"/>
          </a:xfrm>
          <a:prstGeom prst="rect">
            <a:avLst/>
          </a:prstGeom>
        </p:spPr>
      </p:pic>
    </p:spTree>
    <p:extLst>
      <p:ext uri="{BB962C8B-B14F-4D97-AF65-F5344CB8AC3E}">
        <p14:creationId xmlns:p14="http://schemas.microsoft.com/office/powerpoint/2010/main" val="3134678137"/>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dirty="0"/>
              <a:t>Kraft- und Positionsgesteuerte Greifer</a:t>
            </a:r>
          </a:p>
        </p:txBody>
      </p:sp>
      <p:sp>
        <p:nvSpPr>
          <p:cNvPr id="12" name="Fußzeilenplatzhalter 11"/>
          <p:cNvSpPr>
            <a:spLocks noGrp="1"/>
          </p:cNvSpPr>
          <p:nvPr>
            <p:ph type="ftr" sz="quarter" idx="15"/>
          </p:nvPr>
        </p:nvSpPr>
        <p:spPr/>
        <p:txBody>
          <a:bodyPr/>
          <a:lstStyle/>
          <a:p>
            <a:pPr defTabSz="582069"/>
            <a:r>
              <a:rPr lang="de-DE"/>
              <a:t>Automation II</a:t>
            </a:r>
            <a:endParaRPr lang="de-DE" dirty="0"/>
          </a:p>
        </p:txBody>
      </p:sp>
      <p:sp>
        <p:nvSpPr>
          <p:cNvPr id="15" name="Foliennummernplatzhalter 14"/>
          <p:cNvSpPr>
            <a:spLocks noGrp="1"/>
          </p:cNvSpPr>
          <p:nvPr>
            <p:ph type="sldNum" sz="quarter" idx="16"/>
          </p:nvPr>
        </p:nvSpPr>
        <p:spPr/>
        <p:txBody>
          <a:bodyPr/>
          <a:lstStyle/>
          <a:p>
            <a:fld id="{1E6235D0-FF99-C045-995D-75C61122D1C1}" type="slidenum">
              <a:rPr lang="de-DE" smtClean="0"/>
              <a:pPr/>
              <a:t>41</a:t>
            </a:fld>
            <a:endParaRPr lang="de-DE" dirty="0"/>
          </a:p>
        </p:txBody>
      </p:sp>
      <p:grpSp>
        <p:nvGrpSpPr>
          <p:cNvPr id="37" name="Gruppieren 36"/>
          <p:cNvGrpSpPr>
            <a:grpSpLocks/>
          </p:cNvGrpSpPr>
          <p:nvPr/>
        </p:nvGrpSpPr>
        <p:grpSpPr>
          <a:xfrm>
            <a:off x="156659" y="1151468"/>
            <a:ext cx="19144998" cy="5520890"/>
            <a:chOff x="-30322" y="863601"/>
            <a:chExt cx="17948435" cy="5175833"/>
          </a:xfrm>
        </p:grpSpPr>
        <p:sp>
          <p:nvSpPr>
            <p:cNvPr id="38" name="Inhaltsplatzhalter 2"/>
            <p:cNvSpPr txBox="1">
              <a:spLocks/>
            </p:cNvSpPr>
            <p:nvPr/>
          </p:nvSpPr>
          <p:spPr bwMode="auto">
            <a:xfrm>
              <a:off x="5073040" y="863601"/>
              <a:ext cx="5579695" cy="472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92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355591" lvl="1" indent="-355591">
                <a:spcBef>
                  <a:spcPct val="30000"/>
                </a:spcBef>
                <a:buSzPct val="90000"/>
                <a:buFont typeface="Wingdings" pitchFamily="2" charset="2"/>
                <a:buChar char="n"/>
              </a:pPr>
              <a:r>
                <a:rPr lang="de-DE" sz="2133" kern="0" dirty="0">
                  <a:latin typeface="+mj-lt"/>
                </a:rPr>
                <a:t>Der Greifer ist mit einem Kraft-/ </a:t>
              </a:r>
              <a:r>
                <a:rPr lang="de-DE" sz="2133" kern="0" dirty="0" err="1">
                  <a:latin typeface="+mj-lt"/>
                </a:rPr>
                <a:t>Momentensensor</a:t>
              </a:r>
              <a:r>
                <a:rPr lang="de-DE" sz="2133" kern="0" dirty="0">
                  <a:latin typeface="+mj-lt"/>
                </a:rPr>
                <a:t> ausgestattet, der die auftretende Kraft im Greifprozess ermittelt</a:t>
              </a:r>
            </a:p>
            <a:p>
              <a:pPr marL="355591" lvl="1" indent="-355591">
                <a:spcBef>
                  <a:spcPct val="30000"/>
                </a:spcBef>
                <a:buSzPct val="90000"/>
                <a:buFont typeface="Wingdings" pitchFamily="2" charset="2"/>
                <a:buChar char="n"/>
              </a:pPr>
              <a:r>
                <a:rPr lang="de-DE" sz="2133" kern="0" dirty="0">
                  <a:latin typeface="+mj-lt"/>
                </a:rPr>
                <a:t>Die Position des </a:t>
              </a:r>
              <a:r>
                <a:rPr lang="de-DE" sz="2133" kern="0" dirty="0" err="1">
                  <a:latin typeface="+mj-lt"/>
                </a:rPr>
                <a:t>Greiferfingers</a:t>
              </a:r>
              <a:r>
                <a:rPr lang="de-DE" sz="2133" kern="0" dirty="0">
                  <a:latin typeface="+mj-lt"/>
                </a:rPr>
                <a:t> wird durch einen </a:t>
              </a:r>
              <a:r>
                <a:rPr lang="de-DE" sz="2133" kern="0" dirty="0" err="1">
                  <a:latin typeface="+mj-lt"/>
                </a:rPr>
                <a:t>rotatorischen</a:t>
              </a:r>
              <a:r>
                <a:rPr lang="de-DE" sz="2133" kern="0" dirty="0">
                  <a:latin typeface="+mj-lt"/>
                </a:rPr>
                <a:t> Encoder aufgezeichnet</a:t>
              </a:r>
            </a:p>
            <a:p>
              <a:pPr marL="355591" lvl="1" indent="-355591">
                <a:spcBef>
                  <a:spcPct val="30000"/>
                </a:spcBef>
                <a:buSzPct val="90000"/>
                <a:buFont typeface="Wingdings" pitchFamily="2" charset="2"/>
                <a:buChar char="n"/>
              </a:pPr>
              <a:r>
                <a:rPr lang="de-DE" sz="2133" kern="0" dirty="0">
                  <a:latin typeface="+mj-lt"/>
                </a:rPr>
                <a:t>Die Überschreitung der definierten Grenzen führt zu einem Fehlerfall </a:t>
              </a:r>
              <a:r>
                <a:rPr lang="de-DE" sz="2133" kern="0" dirty="0">
                  <a:latin typeface="+mj-lt"/>
                  <a:sym typeface="Wingdings" panose="05000000000000000000" pitchFamily="2" charset="2"/>
                </a:rPr>
                <a:t> Greifer Status „NO PART FOUND“ oder Erkennung einer blockierten Achse „ERROR“</a:t>
              </a:r>
              <a:endParaRPr lang="de-DE" sz="2133" kern="0" dirty="0">
                <a:latin typeface="+mj-lt"/>
              </a:endParaRPr>
            </a:p>
            <a:p>
              <a:pPr marL="355591" lvl="1" indent="-355591">
                <a:spcBef>
                  <a:spcPct val="30000"/>
                </a:spcBef>
                <a:buSzPct val="90000"/>
                <a:buFont typeface="Wingdings" pitchFamily="2" charset="2"/>
                <a:buChar char="n"/>
              </a:pPr>
              <a:r>
                <a:rPr lang="de-DE" sz="2133" kern="0" dirty="0">
                  <a:latin typeface="+mj-lt"/>
                </a:rPr>
                <a:t>Vorteil:</a:t>
              </a:r>
            </a:p>
            <a:p>
              <a:pPr marL="673930" lvl="1" indent="-198115"/>
              <a:r>
                <a:rPr lang="de-DE" sz="1867" kern="0" dirty="0"/>
                <a:t>Sensitives Greifen</a:t>
              </a:r>
            </a:p>
            <a:p>
              <a:pPr marL="673930" lvl="1" indent="-198115"/>
              <a:r>
                <a:rPr lang="de-DE" sz="1867" kern="0" dirty="0"/>
                <a:t>Prozesssicherheit</a:t>
              </a:r>
            </a:p>
            <a:p>
              <a:pPr marL="673930" lvl="1" indent="-198115"/>
              <a:r>
                <a:rPr lang="de-DE" sz="1867" kern="0" dirty="0"/>
                <a:t>MRK-fähige Greifer</a:t>
              </a:r>
            </a:p>
          </p:txBody>
        </p:sp>
        <p:pic>
          <p:nvPicPr>
            <p:cNvPr id="39" name="Grafik 38"/>
            <p:cNvPicPr>
              <a:picLocks noChangeAspect="1"/>
            </p:cNvPicPr>
            <p:nvPr/>
          </p:nvPicPr>
          <p:blipFill rotWithShape="1">
            <a:blip r:embed="rId3"/>
            <a:srcRect t="32730" b="3148"/>
            <a:stretch/>
          </p:blipFill>
          <p:spPr>
            <a:xfrm>
              <a:off x="400834" y="3231715"/>
              <a:ext cx="4108536" cy="2605414"/>
            </a:xfrm>
            <a:prstGeom prst="rect">
              <a:avLst/>
            </a:prstGeom>
            <a:noFill/>
            <a:ln>
              <a:noFill/>
            </a:ln>
            <a:effectLst/>
          </p:spPr>
        </p:pic>
        <p:sp>
          <p:nvSpPr>
            <p:cNvPr id="40" name="Rechteck 39"/>
            <p:cNvSpPr/>
            <p:nvPr/>
          </p:nvSpPr>
          <p:spPr bwMode="auto">
            <a:xfrm>
              <a:off x="1713352" y="4058433"/>
              <a:ext cx="1509907" cy="563671"/>
            </a:xfrm>
            <a:prstGeom prst="rect">
              <a:avLst/>
            </a:prstGeom>
            <a:solidFill>
              <a:srgbClr val="DDDDDD"/>
            </a:solidFill>
            <a:ln w="8636"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ot="0" spcFirstLastPara="0" vertOverflow="overflow" horzOverflow="overflow" vert="horz" wrap="square" lIns="97536" tIns="48768" rIns="97536" bIns="48768" numCol="1" spcCol="0" rtlCol="0" fromWordArt="0" anchor="ctr" anchorCtr="0" forceAA="0" compatLnSpc="1">
              <a:prstTxWarp prst="textNoShape">
                <a:avLst/>
              </a:prstTxWarp>
              <a:noAutofit/>
            </a:bodyPr>
            <a:lstStyle/>
            <a:p>
              <a:pPr algn="ctr" defTabSz="1219170" fontAlgn="base">
                <a:spcBef>
                  <a:spcPct val="0"/>
                </a:spcBef>
                <a:spcAft>
                  <a:spcPct val="0"/>
                </a:spcAft>
              </a:pPr>
              <a:r>
                <a:rPr lang="de-DE" sz="1920" dirty="0">
                  <a:latin typeface="Arial" charset="0"/>
                </a:rPr>
                <a:t>Werkobjekt</a:t>
              </a:r>
            </a:p>
          </p:txBody>
        </p:sp>
        <p:cxnSp>
          <p:nvCxnSpPr>
            <p:cNvPr id="41" name="Gerade Verbindung mit Pfeil 40"/>
            <p:cNvCxnSpPr/>
            <p:nvPr/>
          </p:nvCxnSpPr>
          <p:spPr bwMode="auto">
            <a:xfrm>
              <a:off x="1327759" y="3782860"/>
              <a:ext cx="2292263" cy="0"/>
            </a:xfrm>
            <a:prstGeom prst="straightConnector1">
              <a:avLst/>
            </a:prstGeom>
            <a:solidFill>
              <a:srgbClr val="DDDDDD"/>
            </a:solidFill>
            <a:ln w="3048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Rechteck 41"/>
            <p:cNvSpPr/>
            <p:nvPr/>
          </p:nvSpPr>
          <p:spPr bwMode="auto">
            <a:xfrm>
              <a:off x="1377862" y="5047989"/>
              <a:ext cx="588723" cy="137786"/>
            </a:xfrm>
            <a:prstGeom prst="rect">
              <a:avLst/>
            </a:prstGeom>
            <a:solidFill>
              <a:schemeClr val="accent5"/>
            </a:solidFill>
            <a:ln w="10795" cap="flat" cmpd="sng" algn="ctr">
              <a:noFill/>
              <a:prstDash val="solid"/>
              <a:round/>
              <a:headEnd type="none" w="med" len="med"/>
              <a:tailEnd type="none" w="med" len="med"/>
            </a:ln>
            <a:effectLst/>
          </p:spPr>
          <p:txBody>
            <a:bodyPr rot="0" spcFirstLastPara="0" vertOverflow="overflow" horzOverflow="overflow" vert="horz" wrap="square" lIns="97536" tIns="48768" rIns="97536" bIns="48768"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Arial" charset="0"/>
              </a:endParaRPr>
            </a:p>
          </p:txBody>
        </p:sp>
        <p:sp>
          <p:nvSpPr>
            <p:cNvPr id="43" name="Rechteck 42"/>
            <p:cNvSpPr/>
            <p:nvPr/>
          </p:nvSpPr>
          <p:spPr bwMode="auto">
            <a:xfrm>
              <a:off x="2968665" y="5047989"/>
              <a:ext cx="588723" cy="137786"/>
            </a:xfrm>
            <a:prstGeom prst="rect">
              <a:avLst/>
            </a:prstGeom>
            <a:solidFill>
              <a:schemeClr val="accent5"/>
            </a:solidFill>
            <a:ln w="10795" cap="flat" cmpd="sng" algn="ctr">
              <a:noFill/>
              <a:prstDash val="solid"/>
              <a:round/>
              <a:headEnd type="none" w="med" len="med"/>
              <a:tailEnd type="none" w="med" len="med"/>
            </a:ln>
            <a:effectLst/>
          </p:spPr>
          <p:txBody>
            <a:bodyPr rot="0" spcFirstLastPara="0" vertOverflow="overflow" horzOverflow="overflow" vert="horz" wrap="square" lIns="97536" tIns="48768" rIns="97536" bIns="48768"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Arial" charset="0"/>
              </a:endParaRPr>
            </a:p>
          </p:txBody>
        </p:sp>
        <p:sp>
          <p:nvSpPr>
            <p:cNvPr id="44" name="Rechteck 43"/>
            <p:cNvSpPr/>
            <p:nvPr/>
          </p:nvSpPr>
          <p:spPr bwMode="auto">
            <a:xfrm>
              <a:off x="1966585" y="5047989"/>
              <a:ext cx="1002080" cy="137786"/>
            </a:xfrm>
            <a:prstGeom prst="rect">
              <a:avLst/>
            </a:prstGeom>
            <a:solidFill>
              <a:schemeClr val="tx1"/>
            </a:solidFill>
            <a:ln w="10795" cap="flat" cmpd="sng" algn="ctr">
              <a:noFill/>
              <a:prstDash val="solid"/>
              <a:round/>
              <a:headEnd type="none" w="med" len="med"/>
              <a:tailEnd type="none" w="med" len="med"/>
            </a:ln>
            <a:effectLst/>
          </p:spPr>
          <p:txBody>
            <a:bodyPr rot="0" spcFirstLastPara="0" vertOverflow="overflow" horzOverflow="overflow" vert="horz" wrap="square" lIns="97536" tIns="48768" rIns="97536" bIns="48768"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Arial" charset="0"/>
              </a:endParaRPr>
            </a:p>
          </p:txBody>
        </p:sp>
        <p:pic>
          <p:nvPicPr>
            <p:cNvPr id="45" name="Picture 2" descr="http://www.automatisierungstreff.com/wp-content/uploads/2015/03/WSG-32-mit-WSG-DSA-an-KR-3-Querformat-1024x70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9047" b="9501"/>
            <a:stretch/>
          </p:blipFill>
          <p:spPr bwMode="auto">
            <a:xfrm>
              <a:off x="549381" y="1020853"/>
              <a:ext cx="3959989" cy="1942532"/>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46" name="Grafik 45"/>
            <p:cNvPicPr>
              <a:picLocks noChangeAspect="1"/>
            </p:cNvPicPr>
            <p:nvPr/>
          </p:nvPicPr>
          <p:blipFill rotWithShape="1">
            <a:blip r:embed="rId3"/>
            <a:srcRect t="21402" b="68438"/>
            <a:stretch/>
          </p:blipFill>
          <p:spPr>
            <a:xfrm>
              <a:off x="400834" y="3178959"/>
              <a:ext cx="4108536" cy="412787"/>
            </a:xfrm>
            <a:prstGeom prst="rect">
              <a:avLst/>
            </a:prstGeom>
            <a:noFill/>
            <a:ln>
              <a:noFill/>
            </a:ln>
            <a:effectLst/>
          </p:spPr>
        </p:pic>
        <p:sp>
          <p:nvSpPr>
            <p:cNvPr id="47" name="Textfeld 46"/>
            <p:cNvSpPr txBox="1"/>
            <p:nvPr/>
          </p:nvSpPr>
          <p:spPr>
            <a:xfrm>
              <a:off x="1939860" y="3407080"/>
              <a:ext cx="1084672" cy="369332"/>
            </a:xfrm>
            <a:prstGeom prst="rect">
              <a:avLst/>
            </a:prstGeom>
            <a:noFill/>
          </p:spPr>
          <p:txBody>
            <a:bodyPr wrap="none" lIns="97536" tIns="48768" rIns="97536" bIns="48768" rtlCol="0">
              <a:spAutoFit/>
            </a:bodyPr>
            <a:lstStyle/>
            <a:p>
              <a:r>
                <a:rPr lang="de-DE" sz="1920" dirty="0"/>
                <a:t>Greifkraft</a:t>
              </a:r>
            </a:p>
          </p:txBody>
        </p:sp>
        <p:sp>
          <p:nvSpPr>
            <p:cNvPr id="48" name="Textfeld 47"/>
            <p:cNvSpPr txBox="1"/>
            <p:nvPr/>
          </p:nvSpPr>
          <p:spPr>
            <a:xfrm>
              <a:off x="-30322" y="4652737"/>
              <a:ext cx="2286000" cy="169218"/>
            </a:xfrm>
            <a:prstGeom prst="rect">
              <a:avLst/>
            </a:prstGeom>
            <a:solidFill>
              <a:schemeClr val="bg1"/>
            </a:solidFill>
          </p:spPr>
          <p:txBody>
            <a:bodyPr wrap="square" lIns="0" tIns="0" rIns="0" bIns="0" rtlCol="0">
              <a:spAutoFit/>
            </a:bodyPr>
            <a:lstStyle/>
            <a:p>
              <a:pPr algn="ctr"/>
              <a:r>
                <a:rPr lang="de-DE" sz="1173" dirty="0"/>
                <a:t>Positive Bewegungsrichtung</a:t>
              </a:r>
            </a:p>
          </p:txBody>
        </p:sp>
        <p:sp>
          <p:nvSpPr>
            <p:cNvPr id="49" name="Textfeld 48"/>
            <p:cNvSpPr txBox="1"/>
            <p:nvPr/>
          </p:nvSpPr>
          <p:spPr>
            <a:xfrm>
              <a:off x="597732" y="5273409"/>
              <a:ext cx="778379" cy="338434"/>
            </a:xfrm>
            <a:prstGeom prst="rect">
              <a:avLst/>
            </a:prstGeom>
            <a:solidFill>
              <a:schemeClr val="bg1"/>
            </a:solidFill>
          </p:spPr>
          <p:txBody>
            <a:bodyPr wrap="square" lIns="0" tIns="0" rIns="0" bIns="0" rtlCol="0">
              <a:spAutoFit/>
            </a:bodyPr>
            <a:lstStyle/>
            <a:p>
              <a:r>
                <a:rPr lang="de-DE" sz="1173" dirty="0"/>
                <a:t>Greifweiten-</a:t>
              </a:r>
            </a:p>
            <a:p>
              <a:r>
                <a:rPr lang="de-DE" sz="1173" dirty="0" err="1"/>
                <a:t>toleranz</a:t>
              </a:r>
              <a:r>
                <a:rPr lang="de-DE" sz="1173" dirty="0"/>
                <a:t>/2</a:t>
              </a:r>
            </a:p>
          </p:txBody>
        </p:sp>
        <p:sp>
          <p:nvSpPr>
            <p:cNvPr id="50" name="Textfeld 49"/>
            <p:cNvSpPr txBox="1"/>
            <p:nvPr/>
          </p:nvSpPr>
          <p:spPr>
            <a:xfrm>
              <a:off x="1877754" y="5581038"/>
              <a:ext cx="1230806" cy="169218"/>
            </a:xfrm>
            <a:prstGeom prst="rect">
              <a:avLst/>
            </a:prstGeom>
            <a:solidFill>
              <a:schemeClr val="bg1"/>
            </a:solidFill>
          </p:spPr>
          <p:txBody>
            <a:bodyPr wrap="none" lIns="0" tIns="0" rIns="0" bIns="0" rtlCol="0">
              <a:spAutoFit/>
            </a:bodyPr>
            <a:lstStyle/>
            <a:p>
              <a:r>
                <a:rPr lang="de-DE" sz="1173" dirty="0"/>
                <a:t>Nominelle Greifweite</a:t>
              </a:r>
            </a:p>
          </p:txBody>
        </p:sp>
        <p:sp>
          <p:nvSpPr>
            <p:cNvPr id="51" name="Quelle"/>
            <p:cNvSpPr txBox="1">
              <a:spLocks noChangeArrowheads="1"/>
            </p:cNvSpPr>
            <p:nvPr/>
          </p:nvSpPr>
          <p:spPr bwMode="auto">
            <a:xfrm>
              <a:off x="8450263" y="5848997"/>
              <a:ext cx="9467850" cy="19043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Weiß Robotics</a:t>
              </a:r>
            </a:p>
          </p:txBody>
        </p:sp>
        <p:sp>
          <p:nvSpPr>
            <p:cNvPr id="52" name="Textfeld 51"/>
            <p:cNvSpPr txBox="1"/>
            <p:nvPr/>
          </p:nvSpPr>
          <p:spPr>
            <a:xfrm>
              <a:off x="2047135" y="5341119"/>
              <a:ext cx="766435" cy="169218"/>
            </a:xfrm>
            <a:prstGeom prst="rect">
              <a:avLst/>
            </a:prstGeom>
            <a:solidFill>
              <a:schemeClr val="bg1"/>
            </a:solidFill>
          </p:spPr>
          <p:txBody>
            <a:bodyPr wrap="none" lIns="0" tIns="0" rIns="0" bIns="0" rtlCol="0">
              <a:spAutoFit/>
            </a:bodyPr>
            <a:lstStyle/>
            <a:p>
              <a:r>
                <a:rPr lang="de-DE" sz="1173" dirty="0" err="1"/>
                <a:t>Klemmweg</a:t>
              </a:r>
              <a:r>
                <a:rPr lang="de-DE" sz="1173" dirty="0"/>
                <a:t>/2</a:t>
              </a:r>
            </a:p>
          </p:txBody>
        </p:sp>
      </p:grpSp>
    </p:spTree>
    <p:extLst>
      <p:ext uri="{BB962C8B-B14F-4D97-AF65-F5344CB8AC3E}">
        <p14:creationId xmlns:p14="http://schemas.microsoft.com/office/powerpoint/2010/main" val="2821475924"/>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346638"/>
            <a:ext cx="9023349" cy="589625"/>
          </a:xfrm>
        </p:spPr>
        <p:txBody>
          <a:bodyPr/>
          <a:lstStyle/>
          <a:p>
            <a:r>
              <a:rPr lang="de-DE" dirty="0"/>
              <a:t>Weicher Robotergreifer</a:t>
            </a:r>
          </a:p>
        </p:txBody>
      </p:sp>
      <p:sp>
        <p:nvSpPr>
          <p:cNvPr id="10" name="Rectangle 5"/>
          <p:cNvSpPr>
            <a:spLocks noChangeArrowheads="1"/>
          </p:cNvSpPr>
          <p:nvPr/>
        </p:nvSpPr>
        <p:spPr bwMode="auto">
          <a:xfrm>
            <a:off x="624418" y="994969"/>
            <a:ext cx="10002944" cy="2434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180000" bIns="0"/>
          <a:lstStyle/>
          <a:p>
            <a:pPr marL="355591" lvl="1" indent="-355591" fontAlgn="base">
              <a:lnSpc>
                <a:spcPct val="90000"/>
              </a:lnSpc>
              <a:spcBef>
                <a:spcPct val="30000"/>
              </a:spcBef>
              <a:spcAft>
                <a:spcPct val="20000"/>
              </a:spcAft>
              <a:buClr>
                <a:schemeClr val="tx1"/>
              </a:buClr>
              <a:buSzPct val="90000"/>
              <a:buFont typeface="Wingdings" pitchFamily="2" charset="2"/>
              <a:buChar char="n"/>
              <a:tabLst>
                <a:tab pos="355591" algn="l"/>
                <a:tab pos="842412" algn="l"/>
                <a:tab pos="1308067" algn="l"/>
              </a:tabLst>
            </a:pPr>
            <a:r>
              <a:rPr lang="de-DE" sz="2133" kern="0" dirty="0">
                <a:latin typeface="+mj-lt"/>
              </a:rPr>
              <a:t>Bauteilhandling mit Hilfe eines künstlich erzeugten Vakuums </a:t>
            </a:r>
          </a:p>
          <a:p>
            <a:pPr marL="355591" lvl="1" indent="-355591" fontAlgn="base">
              <a:lnSpc>
                <a:spcPct val="90000"/>
              </a:lnSpc>
              <a:spcBef>
                <a:spcPct val="30000"/>
              </a:spcBef>
              <a:spcAft>
                <a:spcPct val="20000"/>
              </a:spcAft>
              <a:buClr>
                <a:schemeClr val="tx1"/>
              </a:buClr>
              <a:buSzPct val="90000"/>
              <a:buFont typeface="Wingdings" pitchFamily="2" charset="2"/>
              <a:buChar char="n"/>
              <a:tabLst>
                <a:tab pos="355591" algn="l"/>
                <a:tab pos="842412" algn="l"/>
                <a:tab pos="1308067" algn="l"/>
              </a:tabLst>
            </a:pPr>
            <a:r>
              <a:rPr lang="de-DE" sz="2133" kern="0" dirty="0">
                <a:latin typeface="+mj-lt"/>
              </a:rPr>
              <a:t>Anwendung im Service- und Industrieroboterbereich</a:t>
            </a:r>
          </a:p>
          <a:p>
            <a:pPr marL="355591" lvl="1" indent="-355591" fontAlgn="base">
              <a:lnSpc>
                <a:spcPct val="90000"/>
              </a:lnSpc>
              <a:spcBef>
                <a:spcPct val="30000"/>
              </a:spcBef>
              <a:spcAft>
                <a:spcPct val="20000"/>
              </a:spcAft>
              <a:buClr>
                <a:schemeClr val="tx1"/>
              </a:buClr>
              <a:buSzPct val="90000"/>
              <a:buFont typeface="Wingdings" pitchFamily="2" charset="2"/>
              <a:buChar char="n"/>
              <a:tabLst>
                <a:tab pos="355591" algn="l"/>
                <a:tab pos="842412" algn="l"/>
                <a:tab pos="1308067" algn="l"/>
              </a:tabLst>
            </a:pPr>
            <a:r>
              <a:rPr lang="de-DE" sz="2133" kern="0" dirty="0">
                <a:latin typeface="+mj-lt"/>
              </a:rPr>
              <a:t>Greifen von Bauteilen mit undefinierten Greifpunkten/ Greifflächen</a:t>
            </a:r>
          </a:p>
          <a:p>
            <a:pPr marL="266693" indent="-266693">
              <a:lnSpc>
                <a:spcPct val="90000"/>
              </a:lnSpc>
              <a:spcBef>
                <a:spcPct val="30000"/>
              </a:spcBef>
              <a:spcAft>
                <a:spcPct val="20000"/>
              </a:spcAft>
              <a:buClr>
                <a:srgbClr val="006DB6"/>
              </a:buClr>
              <a:buSzPct val="90000"/>
              <a:buFont typeface="Wingdings" pitchFamily="2" charset="2"/>
              <a:buChar char="n"/>
              <a:tabLst>
                <a:tab pos="266693" algn="l"/>
                <a:tab pos="631810" algn="l"/>
                <a:tab pos="981050" algn="l"/>
              </a:tabLst>
            </a:pPr>
            <a:endParaRPr lang="de-DE" dirty="0"/>
          </a:p>
        </p:txBody>
      </p:sp>
      <p:sp>
        <p:nvSpPr>
          <p:cNvPr id="18" name="Fußzeilenplatzhalter 17"/>
          <p:cNvSpPr>
            <a:spLocks noGrp="1"/>
          </p:cNvSpPr>
          <p:nvPr>
            <p:ph type="ftr" sz="quarter" idx="15"/>
          </p:nvPr>
        </p:nvSpPr>
        <p:spPr/>
        <p:txBody>
          <a:bodyPr/>
          <a:lstStyle/>
          <a:p>
            <a:pPr defTabSz="582069"/>
            <a:r>
              <a:rPr lang="de-DE"/>
              <a:t>Automation II</a:t>
            </a:r>
            <a:endParaRPr lang="de-DE" dirty="0"/>
          </a:p>
        </p:txBody>
      </p:sp>
      <p:sp>
        <p:nvSpPr>
          <p:cNvPr id="20" name="Foliennummernplatzhalter 19"/>
          <p:cNvSpPr>
            <a:spLocks noGrp="1"/>
          </p:cNvSpPr>
          <p:nvPr>
            <p:ph type="sldNum" sz="quarter" idx="16"/>
          </p:nvPr>
        </p:nvSpPr>
        <p:spPr/>
        <p:txBody>
          <a:bodyPr/>
          <a:lstStyle/>
          <a:p>
            <a:fld id="{1E6235D0-FF99-C045-995D-75C61122D1C1}" type="slidenum">
              <a:rPr lang="de-DE" smtClean="0"/>
              <a:pPr/>
              <a:t>42</a:t>
            </a:fld>
            <a:endParaRPr lang="de-DE" dirty="0"/>
          </a:p>
        </p:txBody>
      </p:sp>
      <p:pic>
        <p:nvPicPr>
          <p:cNvPr id="21" name="Grafik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418" y="2315677"/>
            <a:ext cx="6271260" cy="3721816"/>
          </a:xfrm>
          <a:prstGeom prst="rect">
            <a:avLst/>
          </a:prstGeom>
        </p:spPr>
      </p:pic>
      <p:sp>
        <p:nvSpPr>
          <p:cNvPr id="27" name="Quelle"/>
          <p:cNvSpPr txBox="1">
            <a:spLocks noChangeArrowheads="1"/>
          </p:cNvSpPr>
          <p:nvPr/>
        </p:nvSpPr>
        <p:spPr bwMode="auto">
          <a:xfrm>
            <a:off x="9725409" y="6461313"/>
            <a:ext cx="10099040"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Festo</a:t>
            </a:r>
          </a:p>
        </p:txBody>
      </p:sp>
      <p:pic>
        <p:nvPicPr>
          <p:cNvPr id="23" name="Grafik 22"/>
          <p:cNvPicPr>
            <a:picLocks noChangeAspect="1"/>
          </p:cNvPicPr>
          <p:nvPr/>
        </p:nvPicPr>
        <p:blipFill rotWithShape="1">
          <a:blip r:embed="rId6">
            <a:extLst>
              <a:ext uri="{28A0092B-C50C-407E-A947-70E740481C1C}">
                <a14:useLocalDpi xmlns:a14="http://schemas.microsoft.com/office/drawing/2010/main" val="0"/>
              </a:ext>
            </a:extLst>
          </a:blip>
          <a:srcRect l="12286" r="26559" b="15852"/>
          <a:stretch/>
        </p:blipFill>
        <p:spPr>
          <a:xfrm>
            <a:off x="7098877" y="2315678"/>
            <a:ext cx="4605443" cy="3722805"/>
          </a:xfrm>
          <a:prstGeom prst="rect">
            <a:avLst/>
          </a:prstGeom>
        </p:spPr>
      </p:pic>
      <p:pic>
        <p:nvPicPr>
          <p:cNvPr id="7" name="Picture 6" descr="Bild1">
            <a:hlinkClick r:id="rId7" action="ppaction://hlinkfile"/>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93083" y="5471387"/>
            <a:ext cx="1011237"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Festo – FlexShapeGripper ">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7164438" y="2350222"/>
            <a:ext cx="858684" cy="483009"/>
          </a:xfrm>
          <a:prstGeom prst="rect">
            <a:avLst/>
          </a:prstGeom>
        </p:spPr>
      </p:pic>
    </p:spTree>
    <p:extLst>
      <p:ext uri="{BB962C8B-B14F-4D97-AF65-F5344CB8AC3E}">
        <p14:creationId xmlns:p14="http://schemas.microsoft.com/office/powerpoint/2010/main" val="279941475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866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showWhenStopped="0">
                <p:cTn id="7" fill="hold" display="0">
                  <p:stCondLst>
                    <p:cond delay="indefinite"/>
                  </p:stCondLst>
                </p:cTn>
                <p:tgtEl>
                  <p:spTgt spid="3"/>
                </p:tgtEl>
              </p:cMediaNode>
            </p:vide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254001"/>
            <a:ext cx="11364382" cy="682263"/>
          </a:xfrm>
        </p:spPr>
        <p:txBody>
          <a:bodyPr>
            <a:noAutofit/>
          </a:bodyPr>
          <a:lstStyle/>
          <a:p>
            <a:pPr>
              <a:lnSpc>
                <a:spcPct val="100000"/>
              </a:lnSpc>
            </a:pPr>
            <a:r>
              <a:rPr lang="de-DE" dirty="0"/>
              <a:t>Um eine Mensch-Roboter-Kooperation einsetzen zu können, ist eine Risikobeurteilung zwingend erforderlich</a:t>
            </a:r>
          </a:p>
        </p:txBody>
      </p:sp>
      <p:sp>
        <p:nvSpPr>
          <p:cNvPr id="5" name="Fußzeilenplatzhalter 4"/>
          <p:cNvSpPr>
            <a:spLocks noGrp="1"/>
          </p:cNvSpPr>
          <p:nvPr>
            <p:ph type="ftr" sz="quarter" idx="15"/>
          </p:nvPr>
        </p:nvSpPr>
        <p:spPr/>
        <p:txBody>
          <a:bodyPr/>
          <a:lstStyle/>
          <a:p>
            <a:pPr defTabSz="582069"/>
            <a:r>
              <a:rPr lang="de-DE"/>
              <a:t>Automation II</a:t>
            </a:r>
            <a:endParaRPr lang="de-DE" dirty="0"/>
          </a:p>
        </p:txBody>
      </p:sp>
      <p:sp>
        <p:nvSpPr>
          <p:cNvPr id="7" name="Foliennummernplatzhalter 6"/>
          <p:cNvSpPr>
            <a:spLocks noGrp="1"/>
          </p:cNvSpPr>
          <p:nvPr>
            <p:ph type="sldNum" sz="quarter" idx="16"/>
          </p:nvPr>
        </p:nvSpPr>
        <p:spPr/>
        <p:txBody>
          <a:bodyPr/>
          <a:lstStyle/>
          <a:p>
            <a:fld id="{1E6235D0-FF99-C045-995D-75C61122D1C1}" type="slidenum">
              <a:rPr lang="de-DE" smtClean="0"/>
              <a:pPr/>
              <a:t>43</a:t>
            </a:fld>
            <a:endParaRPr lang="de-DE" dirty="0"/>
          </a:p>
        </p:txBody>
      </p:sp>
      <p:grpSp>
        <p:nvGrpSpPr>
          <p:cNvPr id="10" name="Gruppieren 9"/>
          <p:cNvGrpSpPr>
            <a:grpSpLocks/>
          </p:cNvGrpSpPr>
          <p:nvPr/>
        </p:nvGrpSpPr>
        <p:grpSpPr>
          <a:xfrm>
            <a:off x="398273" y="1395308"/>
            <a:ext cx="11397907" cy="5670768"/>
            <a:chOff x="185493" y="863601"/>
            <a:chExt cx="9498257" cy="4725640"/>
          </a:xfrm>
        </p:grpSpPr>
        <p:sp>
          <p:nvSpPr>
            <p:cNvPr id="11" name="Inhaltsplatzhalter 2"/>
            <p:cNvSpPr txBox="1">
              <a:spLocks/>
            </p:cNvSpPr>
            <p:nvPr/>
          </p:nvSpPr>
          <p:spPr bwMode="auto">
            <a:xfrm>
              <a:off x="3371850" y="863601"/>
              <a:ext cx="6311900" cy="472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16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320032" indent="-320032">
                <a:buClr>
                  <a:schemeClr val="tx1"/>
                </a:buClr>
              </a:pPr>
              <a:r>
                <a:rPr lang="de-DE" sz="2133" kern="0" dirty="0">
                  <a:latin typeface="+mj-lt"/>
                </a:rPr>
                <a:t>Die Norm EN ISO 10218-1:2011 besagt, dass der Roboter selbst nur eine der Komponenten in einem Robotersystem ist und für sich alleine unzureichend für eine sichere MRK-Anwendung.</a:t>
              </a:r>
            </a:p>
            <a:p>
              <a:pPr marL="320032" indent="-320032">
                <a:buClr>
                  <a:schemeClr val="tx1"/>
                </a:buClr>
              </a:pPr>
              <a:r>
                <a:rPr lang="de-DE" sz="2133" kern="0" dirty="0">
                  <a:latin typeface="+mj-lt"/>
                </a:rPr>
                <a:t>Es ist immer die gesamte MRK-Anwendung zu betrachten, beispielsweise Greiftechnik inklusive Produkt.</a:t>
              </a:r>
            </a:p>
            <a:p>
              <a:pPr marL="320032" indent="-320032">
                <a:buClr>
                  <a:schemeClr val="tx1"/>
                </a:buClr>
              </a:pPr>
              <a:r>
                <a:rPr lang="de-DE" sz="2133" kern="0" dirty="0">
                  <a:latin typeface="+mj-lt"/>
                </a:rPr>
                <a:t>Die Anwendung des kooperierenden Betriebs muss durch eine Risikobeurteilung festgelegt werden.</a:t>
              </a:r>
            </a:p>
            <a:p>
              <a:pPr marL="320032" indent="-320032">
                <a:buClr>
                  <a:schemeClr val="tx1"/>
                </a:buClr>
              </a:pPr>
              <a:r>
                <a:rPr lang="de-DE" sz="2133" kern="0" dirty="0">
                  <a:latin typeface="+mj-lt"/>
                </a:rPr>
                <a:t>Die neue Norm ISO/TS 15066 unterstützt bei der Einführung von </a:t>
              </a:r>
              <a:r>
                <a:rPr lang="de-DE" sz="2133" kern="0" dirty="0" err="1">
                  <a:latin typeface="+mj-lt"/>
                </a:rPr>
                <a:t>kollaborativen</a:t>
              </a:r>
              <a:r>
                <a:rPr lang="de-DE" sz="2133" kern="0" dirty="0">
                  <a:latin typeface="+mj-lt"/>
                </a:rPr>
                <a:t> Robotersystemen.</a:t>
              </a:r>
            </a:p>
            <a:p>
              <a:pPr marL="758172" lvl="1" indent="-222880"/>
              <a:r>
                <a:rPr lang="de-DE" sz="1920" kern="0" dirty="0"/>
                <a:t>Zusammenarbeit statt Schutzeinrichtung</a:t>
              </a:r>
            </a:p>
            <a:p>
              <a:pPr marL="758172" lvl="1" indent="-222880"/>
              <a:r>
                <a:rPr lang="de-DE" sz="1920" kern="0" dirty="0"/>
                <a:t>Voraussetzungen hinsichtlich Design und Risikobeurteilung der Roboter</a:t>
              </a:r>
            </a:p>
            <a:p>
              <a:pPr marL="0" indent="0">
                <a:buNone/>
              </a:pPr>
              <a:endParaRPr lang="de-DE" sz="2400" kern="0" dirty="0"/>
            </a:p>
          </p:txBody>
        </p:sp>
        <p:pic>
          <p:nvPicPr>
            <p:cNvPr id="12" name="Grafik 11"/>
            <p:cNvPicPr>
              <a:picLocks noChangeAspect="1"/>
            </p:cNvPicPr>
            <p:nvPr/>
          </p:nvPicPr>
          <p:blipFill rotWithShape="1">
            <a:blip r:embed="rId3"/>
            <a:srcRect l="2081" t="6588" r="2605" b="6435"/>
            <a:stretch/>
          </p:blipFill>
          <p:spPr>
            <a:xfrm>
              <a:off x="185493" y="995598"/>
              <a:ext cx="3002433" cy="1644873"/>
            </a:xfrm>
            <a:prstGeom prst="rect">
              <a:avLst/>
            </a:prstGeom>
            <a:noFill/>
            <a:ln>
              <a:noFill/>
            </a:ln>
            <a:effectLst/>
          </p:spPr>
        </p:pic>
        <p:pic>
          <p:nvPicPr>
            <p:cNvPr id="13" name="Picture 2" descr="Qualitätskontrolle mit einer Kamera und einem Roboterarm"/>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5493" y="3226421"/>
              <a:ext cx="3002433" cy="974474"/>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14" name="Quelle"/>
            <p:cNvSpPr txBox="1">
              <a:spLocks noChangeArrowheads="1"/>
            </p:cNvSpPr>
            <p:nvPr/>
          </p:nvSpPr>
          <p:spPr bwMode="auto">
            <a:xfrm>
              <a:off x="7009138" y="5032409"/>
              <a:ext cx="2162230" cy="169278"/>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Bildquelle: Daimler, Universal </a:t>
              </a:r>
              <a:r>
                <a:rPr lang="de-DE" sz="1000" dirty="0" err="1"/>
                <a:t>Robots</a:t>
              </a:r>
              <a:endParaRPr lang="de-DE" sz="1000" dirty="0"/>
            </a:p>
          </p:txBody>
        </p:sp>
      </p:grpSp>
    </p:spTree>
    <p:extLst>
      <p:ext uri="{BB962C8B-B14F-4D97-AF65-F5344CB8AC3E}">
        <p14:creationId xmlns:p14="http://schemas.microsoft.com/office/powerpoint/2010/main" val="2730342311"/>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189654"/>
            <a:ext cx="10527058" cy="746609"/>
          </a:xfrm>
        </p:spPr>
        <p:txBody>
          <a:bodyPr>
            <a:normAutofit fontScale="90000"/>
          </a:bodyPr>
          <a:lstStyle/>
          <a:p>
            <a:pPr>
              <a:lnSpc>
                <a:spcPct val="100000"/>
              </a:lnSpc>
            </a:pPr>
            <a:r>
              <a:rPr lang="de-DE" dirty="0"/>
              <a:t>TS ISO 15066: Sicherheitstechnische Anforderungen an die Mensch-Roboter-Kooperation</a:t>
            </a:r>
          </a:p>
        </p:txBody>
      </p:sp>
      <p:sp>
        <p:nvSpPr>
          <p:cNvPr id="20" name="Quelle"/>
          <p:cNvSpPr txBox="1">
            <a:spLocks noChangeArrowheads="1"/>
          </p:cNvSpPr>
          <p:nvPr/>
        </p:nvSpPr>
        <p:spPr bwMode="auto">
          <a:xfrm>
            <a:off x="10085813" y="6503509"/>
            <a:ext cx="9467851"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Pilz</a:t>
            </a:r>
          </a:p>
        </p:txBody>
      </p:sp>
      <p:sp>
        <p:nvSpPr>
          <p:cNvPr id="6" name="Fußzeilenplatzhalter 5"/>
          <p:cNvSpPr>
            <a:spLocks noGrp="1"/>
          </p:cNvSpPr>
          <p:nvPr>
            <p:ph type="ftr" sz="quarter" idx="15"/>
          </p:nvPr>
        </p:nvSpPr>
        <p:spPr>
          <a:xfrm>
            <a:off x="907021" y="6495597"/>
            <a:ext cx="8593666" cy="211045"/>
          </a:xfrm>
        </p:spPr>
        <p:txBody>
          <a:bodyPr/>
          <a:lstStyle/>
          <a:p>
            <a:pPr defTabSz="582069"/>
            <a:r>
              <a:rPr lang="de-DE"/>
              <a:t>Automation II</a:t>
            </a:r>
            <a:endParaRPr lang="de-DE" dirty="0"/>
          </a:p>
        </p:txBody>
      </p:sp>
      <p:sp>
        <p:nvSpPr>
          <p:cNvPr id="7" name="Foliennummernplatzhalter 6"/>
          <p:cNvSpPr>
            <a:spLocks noGrp="1"/>
          </p:cNvSpPr>
          <p:nvPr>
            <p:ph type="sldNum" sz="quarter" idx="16"/>
          </p:nvPr>
        </p:nvSpPr>
        <p:spPr/>
        <p:txBody>
          <a:bodyPr/>
          <a:lstStyle/>
          <a:p>
            <a:fld id="{1E6235D0-FF99-C045-995D-75C61122D1C1}" type="slidenum">
              <a:rPr lang="de-DE" smtClean="0"/>
              <a:pPr/>
              <a:t>44</a:t>
            </a:fld>
            <a:endParaRPr lang="de-DE" dirty="0"/>
          </a:p>
        </p:txBody>
      </p:sp>
      <p:sp>
        <p:nvSpPr>
          <p:cNvPr id="8" name="Textfeld 7">
            <a:extLst>
              <a:ext uri="{FF2B5EF4-FFF2-40B4-BE49-F238E27FC236}">
                <a16:creationId xmlns:a16="http://schemas.microsoft.com/office/drawing/2014/main" id="{DB5E3C25-F4BA-BFD5-8E00-0A94059A4EEB}"/>
              </a:ext>
            </a:extLst>
          </p:cNvPr>
          <p:cNvSpPr txBox="1"/>
          <p:nvPr/>
        </p:nvSpPr>
        <p:spPr>
          <a:xfrm>
            <a:off x="536393" y="1022459"/>
            <a:ext cx="11190787" cy="707886"/>
          </a:xfrm>
          <a:prstGeom prst="rect">
            <a:avLst/>
          </a:prstGeom>
          <a:noFill/>
        </p:spPr>
        <p:txBody>
          <a:bodyPr wrap="square">
            <a:spAutoFit/>
          </a:bodyPr>
          <a:lstStyle/>
          <a:p>
            <a:r>
              <a:rPr lang="de-CH" sz="2000" b="0" i="0" u="none" strike="noStrike" baseline="0" dirty="0">
                <a:solidFill>
                  <a:srgbClr val="000000"/>
                </a:solidFill>
                <a:latin typeface="Arial" panose="020B0604020202020204" pitchFamily="34" charset="0"/>
              </a:rPr>
              <a:t>Die </a:t>
            </a:r>
            <a:r>
              <a:rPr lang="de-CH" sz="2000" b="1" i="0" u="none" strike="noStrike" baseline="0" dirty="0">
                <a:solidFill>
                  <a:srgbClr val="000000"/>
                </a:solidFill>
                <a:latin typeface="Arial" panose="020B0604020202020204" pitchFamily="34" charset="0"/>
              </a:rPr>
              <a:t>TS 15066 </a:t>
            </a:r>
            <a:r>
              <a:rPr lang="de-CH" sz="2000" b="0" i="0" u="none" strike="noStrike" baseline="0" dirty="0">
                <a:solidFill>
                  <a:srgbClr val="000000"/>
                </a:solidFill>
                <a:latin typeface="Arial" panose="020B0604020202020204" pitchFamily="34" charset="0"/>
              </a:rPr>
              <a:t>beschreibt </a:t>
            </a:r>
            <a:r>
              <a:rPr lang="de-CH" sz="2000" b="1" i="0" u="none" strike="noStrike" baseline="0" dirty="0">
                <a:solidFill>
                  <a:srgbClr val="000000"/>
                </a:solidFill>
                <a:latin typeface="Arial" panose="020B0604020202020204" pitchFamily="34" charset="0"/>
              </a:rPr>
              <a:t>vier Methoden, </a:t>
            </a:r>
            <a:r>
              <a:rPr lang="de-CH" sz="2000" b="0" i="0" u="none" strike="noStrike" baseline="0" dirty="0">
                <a:solidFill>
                  <a:srgbClr val="000000"/>
                </a:solidFill>
                <a:latin typeface="Arial" panose="020B0604020202020204" pitchFamily="34" charset="0"/>
              </a:rPr>
              <a:t>um das Zusammenwirken von Mensch und Roboter sicher zu gewährleisten:</a:t>
            </a:r>
            <a:endParaRPr lang="de-CH" sz="2000" dirty="0"/>
          </a:p>
        </p:txBody>
      </p:sp>
      <p:sp>
        <p:nvSpPr>
          <p:cNvPr id="9" name="Rechteck 8">
            <a:extLst>
              <a:ext uri="{FF2B5EF4-FFF2-40B4-BE49-F238E27FC236}">
                <a16:creationId xmlns:a16="http://schemas.microsoft.com/office/drawing/2014/main" id="{B5E9CDD7-36C8-13D0-B119-C289206B34A7}"/>
              </a:ext>
            </a:extLst>
          </p:cNvPr>
          <p:cNvSpPr/>
          <p:nvPr/>
        </p:nvSpPr>
        <p:spPr>
          <a:xfrm>
            <a:off x="624416" y="1711449"/>
            <a:ext cx="4680000" cy="379656"/>
          </a:xfrm>
          <a:prstGeom prst="rect">
            <a:avLst/>
          </a:prstGeom>
          <a:solidFill>
            <a:schemeClr val="accent2">
              <a:lumMod val="50000"/>
            </a:schemeClr>
          </a:solidFill>
        </p:spPr>
        <p:txBody>
          <a:bodyPr wrap="square">
            <a:spAutoFit/>
          </a:bodyPr>
          <a:lstStyle/>
          <a:p>
            <a:pPr algn="ctr"/>
            <a:r>
              <a:rPr lang="de-DE" sz="1867" dirty="0">
                <a:solidFill>
                  <a:schemeClr val="bg1"/>
                </a:solidFill>
              </a:rPr>
              <a:t>Sicherheitsüberwachter Stopp</a:t>
            </a:r>
          </a:p>
        </p:txBody>
      </p:sp>
      <p:sp>
        <p:nvSpPr>
          <p:cNvPr id="10" name="Rechteck 9">
            <a:extLst>
              <a:ext uri="{FF2B5EF4-FFF2-40B4-BE49-F238E27FC236}">
                <a16:creationId xmlns:a16="http://schemas.microsoft.com/office/drawing/2014/main" id="{E02595C9-B128-4F82-155D-1EF7FB3A95BF}"/>
              </a:ext>
            </a:extLst>
          </p:cNvPr>
          <p:cNvSpPr/>
          <p:nvPr/>
        </p:nvSpPr>
        <p:spPr>
          <a:xfrm>
            <a:off x="5473227" y="1703832"/>
            <a:ext cx="4680000" cy="379656"/>
          </a:xfrm>
          <a:prstGeom prst="rect">
            <a:avLst/>
          </a:prstGeom>
          <a:solidFill>
            <a:schemeClr val="accent2">
              <a:lumMod val="50000"/>
            </a:schemeClr>
          </a:solidFill>
        </p:spPr>
        <p:txBody>
          <a:bodyPr wrap="square">
            <a:spAutoFit/>
          </a:bodyPr>
          <a:lstStyle/>
          <a:p>
            <a:pPr algn="ctr"/>
            <a:r>
              <a:rPr lang="de-DE" sz="1867" dirty="0">
                <a:solidFill>
                  <a:schemeClr val="bg1"/>
                </a:solidFill>
              </a:rPr>
              <a:t>Handführung</a:t>
            </a:r>
          </a:p>
        </p:txBody>
      </p:sp>
      <p:sp>
        <p:nvSpPr>
          <p:cNvPr id="14" name="Rechteck 13">
            <a:extLst>
              <a:ext uri="{FF2B5EF4-FFF2-40B4-BE49-F238E27FC236}">
                <a16:creationId xmlns:a16="http://schemas.microsoft.com/office/drawing/2014/main" id="{EB7F84E1-7F7F-EB67-58D1-23D3B80075EF}"/>
              </a:ext>
            </a:extLst>
          </p:cNvPr>
          <p:cNvSpPr/>
          <p:nvPr/>
        </p:nvSpPr>
        <p:spPr>
          <a:xfrm>
            <a:off x="5715979" y="4394857"/>
            <a:ext cx="4680000" cy="379656"/>
          </a:xfrm>
          <a:prstGeom prst="rect">
            <a:avLst/>
          </a:prstGeom>
          <a:solidFill>
            <a:schemeClr val="accent2">
              <a:lumMod val="50000"/>
            </a:schemeClr>
          </a:solidFill>
        </p:spPr>
        <p:txBody>
          <a:bodyPr wrap="square" anchor="ctr">
            <a:spAutoFit/>
          </a:bodyPr>
          <a:lstStyle/>
          <a:p>
            <a:pPr algn="ctr"/>
            <a:r>
              <a:rPr lang="de-DE" sz="1867" dirty="0">
                <a:solidFill>
                  <a:schemeClr val="bg1"/>
                </a:solidFill>
              </a:rPr>
              <a:t>Kraft- und Leistungsbegrenzung</a:t>
            </a:r>
          </a:p>
        </p:txBody>
      </p:sp>
      <p:sp>
        <p:nvSpPr>
          <p:cNvPr id="15" name="Rechteck 14">
            <a:extLst>
              <a:ext uri="{FF2B5EF4-FFF2-40B4-BE49-F238E27FC236}">
                <a16:creationId xmlns:a16="http://schemas.microsoft.com/office/drawing/2014/main" id="{E1F45BA4-FED8-7A2E-A0E1-8D6B06C7B73B}"/>
              </a:ext>
            </a:extLst>
          </p:cNvPr>
          <p:cNvSpPr/>
          <p:nvPr/>
        </p:nvSpPr>
        <p:spPr>
          <a:xfrm>
            <a:off x="624416" y="4136570"/>
            <a:ext cx="4680000" cy="637943"/>
          </a:xfrm>
          <a:prstGeom prst="rect">
            <a:avLst/>
          </a:prstGeom>
          <a:solidFill>
            <a:schemeClr val="accent2">
              <a:lumMod val="50000"/>
            </a:schemeClr>
          </a:solidFill>
        </p:spPr>
        <p:txBody>
          <a:bodyPr wrap="square">
            <a:noAutofit/>
          </a:bodyPr>
          <a:lstStyle/>
          <a:p>
            <a:pPr algn="ctr"/>
            <a:r>
              <a:rPr lang="de-DE" sz="1867" dirty="0">
                <a:solidFill>
                  <a:schemeClr val="bg1"/>
                </a:solidFill>
              </a:rPr>
              <a:t>Geschwindigkeits- und Abstandsüberwachung</a:t>
            </a:r>
          </a:p>
        </p:txBody>
      </p:sp>
      <p:pic>
        <p:nvPicPr>
          <p:cNvPr id="18" name="Grafik 17">
            <a:extLst>
              <a:ext uri="{FF2B5EF4-FFF2-40B4-BE49-F238E27FC236}">
                <a16:creationId xmlns:a16="http://schemas.microsoft.com/office/drawing/2014/main" id="{CCE501A8-B288-955C-4142-73972D2031DA}"/>
              </a:ext>
            </a:extLst>
          </p:cNvPr>
          <p:cNvPicPr>
            <a:picLocks noChangeAspect="1"/>
          </p:cNvPicPr>
          <p:nvPr/>
        </p:nvPicPr>
        <p:blipFill>
          <a:blip r:embed="rId3"/>
          <a:stretch>
            <a:fillRect/>
          </a:stretch>
        </p:blipFill>
        <p:spPr>
          <a:xfrm>
            <a:off x="1006087" y="2123380"/>
            <a:ext cx="3780000" cy="1971851"/>
          </a:xfrm>
          <a:prstGeom prst="rect">
            <a:avLst/>
          </a:prstGeom>
        </p:spPr>
      </p:pic>
      <p:pic>
        <p:nvPicPr>
          <p:cNvPr id="21" name="Grafik 20">
            <a:extLst>
              <a:ext uri="{FF2B5EF4-FFF2-40B4-BE49-F238E27FC236}">
                <a16:creationId xmlns:a16="http://schemas.microsoft.com/office/drawing/2014/main" id="{8A3892DC-0DED-D822-5A0D-59A671FDC20D}"/>
              </a:ext>
            </a:extLst>
          </p:cNvPr>
          <p:cNvPicPr>
            <a:picLocks noChangeAspect="1"/>
          </p:cNvPicPr>
          <p:nvPr/>
        </p:nvPicPr>
        <p:blipFill>
          <a:blip r:embed="rId4"/>
          <a:stretch>
            <a:fillRect/>
          </a:stretch>
        </p:blipFill>
        <p:spPr>
          <a:xfrm>
            <a:off x="5715979" y="2119305"/>
            <a:ext cx="3882353" cy="1980000"/>
          </a:xfrm>
          <a:prstGeom prst="rect">
            <a:avLst/>
          </a:prstGeom>
        </p:spPr>
      </p:pic>
      <p:pic>
        <p:nvPicPr>
          <p:cNvPr id="23" name="Grafik 22">
            <a:extLst>
              <a:ext uri="{FF2B5EF4-FFF2-40B4-BE49-F238E27FC236}">
                <a16:creationId xmlns:a16="http://schemas.microsoft.com/office/drawing/2014/main" id="{219A0D65-53E5-F2E1-E518-B0B9D4C96EAC}"/>
              </a:ext>
            </a:extLst>
          </p:cNvPr>
          <p:cNvPicPr>
            <a:picLocks noChangeAspect="1"/>
          </p:cNvPicPr>
          <p:nvPr/>
        </p:nvPicPr>
        <p:blipFill>
          <a:blip r:embed="rId5"/>
          <a:stretch>
            <a:fillRect/>
          </a:stretch>
        </p:blipFill>
        <p:spPr>
          <a:xfrm>
            <a:off x="907021" y="4780723"/>
            <a:ext cx="3727057" cy="1980000"/>
          </a:xfrm>
          <a:prstGeom prst="rect">
            <a:avLst/>
          </a:prstGeom>
        </p:spPr>
      </p:pic>
      <p:pic>
        <p:nvPicPr>
          <p:cNvPr id="25" name="Grafik 24">
            <a:extLst>
              <a:ext uri="{FF2B5EF4-FFF2-40B4-BE49-F238E27FC236}">
                <a16:creationId xmlns:a16="http://schemas.microsoft.com/office/drawing/2014/main" id="{28158D3D-E776-1CE5-0373-826B41BC0714}"/>
              </a:ext>
            </a:extLst>
          </p:cNvPr>
          <p:cNvPicPr>
            <a:picLocks noChangeAspect="1"/>
          </p:cNvPicPr>
          <p:nvPr/>
        </p:nvPicPr>
        <p:blipFill>
          <a:blip r:embed="rId6"/>
          <a:stretch>
            <a:fillRect/>
          </a:stretch>
        </p:blipFill>
        <p:spPr>
          <a:xfrm>
            <a:off x="5981009" y="4780723"/>
            <a:ext cx="3812241" cy="1980000"/>
          </a:xfrm>
          <a:prstGeom prst="rect">
            <a:avLst/>
          </a:prstGeom>
        </p:spPr>
      </p:pic>
    </p:spTree>
    <p:extLst>
      <p:ext uri="{BB962C8B-B14F-4D97-AF65-F5344CB8AC3E}">
        <p14:creationId xmlns:p14="http://schemas.microsoft.com/office/powerpoint/2010/main" val="251535651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189654"/>
            <a:ext cx="10527058" cy="746609"/>
          </a:xfrm>
        </p:spPr>
        <p:txBody>
          <a:bodyPr>
            <a:normAutofit fontScale="90000"/>
          </a:bodyPr>
          <a:lstStyle/>
          <a:p>
            <a:r>
              <a:rPr lang="de-DE" dirty="0"/>
              <a:t>TS ISO 15066: Sicherheitstechnische Anforderungen an die Mensch-Roboter-Kooperation </a:t>
            </a:r>
          </a:p>
        </p:txBody>
      </p:sp>
      <p:sp>
        <p:nvSpPr>
          <p:cNvPr id="12" name="Textfeld 11"/>
          <p:cNvSpPr txBox="1"/>
          <p:nvPr/>
        </p:nvSpPr>
        <p:spPr>
          <a:xfrm>
            <a:off x="422762" y="4867791"/>
            <a:ext cx="5795158" cy="1528945"/>
          </a:xfrm>
          <a:prstGeom prst="rect">
            <a:avLst/>
          </a:prstGeom>
          <a:noFill/>
          <a:ln>
            <a:solidFill>
              <a:schemeClr val="bg1"/>
            </a:solidFill>
          </a:ln>
        </p:spPr>
        <p:txBody>
          <a:bodyPr wrap="square" rtlCol="0">
            <a:spAutoFit/>
          </a:bodyPr>
          <a:lstStyle>
            <a:defPPr>
              <a:defRPr lang="de-DE"/>
            </a:defPPr>
            <a:lvl1pPr algn="ctr">
              <a:buClr>
                <a:srgbClr val="0D5893"/>
              </a:buClr>
              <a:defRPr sz="2000"/>
            </a:lvl1pPr>
          </a:lstStyle>
          <a:p>
            <a:pPr marL="342900" indent="-342900" algn="l">
              <a:buClrTx/>
              <a:buFont typeface="Wingdings" panose="05000000000000000000" pitchFamily="2" charset="2"/>
              <a:buChar char="§"/>
            </a:pPr>
            <a:r>
              <a:rPr lang="de-CH" sz="1867" dirty="0"/>
              <a:t>Bevor eine Person den Kollaborationsraum betritt, muss der Roboter im Sicheren Halt sein.</a:t>
            </a:r>
          </a:p>
          <a:p>
            <a:pPr marL="342900" indent="-342900" algn="l">
              <a:buClrTx/>
              <a:buFont typeface="Wingdings" panose="05000000000000000000" pitchFamily="2" charset="2"/>
              <a:buChar char="§"/>
            </a:pPr>
            <a:r>
              <a:rPr lang="de-CH" sz="1867" dirty="0"/>
              <a:t>Automatischer Wiederanlauf, wenn ein Hintertreten der Schutzeinrichtung nicht möglich ist</a:t>
            </a:r>
            <a:endParaRPr lang="de-DE" sz="1867" dirty="0"/>
          </a:p>
        </p:txBody>
      </p:sp>
      <p:sp>
        <p:nvSpPr>
          <p:cNvPr id="13" name="Rechteck 12"/>
          <p:cNvSpPr/>
          <p:nvPr/>
        </p:nvSpPr>
        <p:spPr>
          <a:xfrm>
            <a:off x="624417" y="1254249"/>
            <a:ext cx="4680000" cy="379656"/>
          </a:xfrm>
          <a:prstGeom prst="rect">
            <a:avLst/>
          </a:prstGeom>
          <a:solidFill>
            <a:schemeClr val="accent2">
              <a:lumMod val="50000"/>
            </a:schemeClr>
          </a:solidFill>
        </p:spPr>
        <p:txBody>
          <a:bodyPr wrap="square">
            <a:spAutoFit/>
          </a:bodyPr>
          <a:lstStyle/>
          <a:p>
            <a:pPr algn="ctr"/>
            <a:r>
              <a:rPr lang="de-DE" sz="1867" dirty="0">
                <a:solidFill>
                  <a:schemeClr val="bg1"/>
                </a:solidFill>
              </a:rPr>
              <a:t>Sicherheitsüberwachter Stopp</a:t>
            </a:r>
          </a:p>
        </p:txBody>
      </p:sp>
      <p:sp>
        <p:nvSpPr>
          <p:cNvPr id="11" name="Textfeld 10"/>
          <p:cNvSpPr txBox="1"/>
          <p:nvPr/>
        </p:nvSpPr>
        <p:spPr>
          <a:xfrm>
            <a:off x="6713317" y="4913228"/>
            <a:ext cx="5055921" cy="954300"/>
          </a:xfrm>
          <a:prstGeom prst="rect">
            <a:avLst/>
          </a:prstGeom>
          <a:solidFill>
            <a:schemeClr val="bg1"/>
          </a:solidFill>
          <a:ln>
            <a:solidFill>
              <a:schemeClr val="bg1"/>
            </a:solidFill>
          </a:ln>
        </p:spPr>
        <p:txBody>
          <a:bodyPr wrap="square" rtlCol="0">
            <a:spAutoFit/>
          </a:bodyPr>
          <a:lstStyle/>
          <a:p>
            <a:pPr marL="342900" indent="-342900">
              <a:buFont typeface="Wingdings" panose="05000000000000000000" pitchFamily="2" charset="2"/>
              <a:buChar char="§"/>
            </a:pPr>
            <a:r>
              <a:rPr lang="de-CH" sz="1867" dirty="0"/>
              <a:t>Aktivierung der Handführung durch eine 3-stufige </a:t>
            </a:r>
            <a:r>
              <a:rPr lang="de-CH" sz="1867" dirty="0" err="1"/>
              <a:t>Zustimmeinrichtung</a:t>
            </a:r>
            <a:r>
              <a:rPr lang="de-CH" sz="1867" dirty="0"/>
              <a:t> nah am TCP</a:t>
            </a:r>
          </a:p>
          <a:p>
            <a:pPr marL="342900" indent="-342900">
              <a:buFont typeface="Wingdings" panose="05000000000000000000" pitchFamily="2" charset="2"/>
              <a:buChar char="§"/>
            </a:pPr>
            <a:r>
              <a:rPr lang="de-DE" sz="1867" dirty="0"/>
              <a:t>Mensch führt Roboter manuell</a:t>
            </a:r>
          </a:p>
        </p:txBody>
      </p:sp>
      <p:sp>
        <p:nvSpPr>
          <p:cNvPr id="16" name="Rechteck 15"/>
          <p:cNvSpPr/>
          <p:nvPr/>
        </p:nvSpPr>
        <p:spPr>
          <a:xfrm>
            <a:off x="6895628" y="1254249"/>
            <a:ext cx="4680000" cy="379656"/>
          </a:xfrm>
          <a:prstGeom prst="rect">
            <a:avLst/>
          </a:prstGeom>
          <a:solidFill>
            <a:schemeClr val="accent2">
              <a:lumMod val="50000"/>
            </a:schemeClr>
          </a:solidFill>
        </p:spPr>
        <p:txBody>
          <a:bodyPr wrap="square">
            <a:spAutoFit/>
          </a:bodyPr>
          <a:lstStyle/>
          <a:p>
            <a:pPr algn="ctr"/>
            <a:r>
              <a:rPr lang="de-DE" sz="1867" dirty="0">
                <a:solidFill>
                  <a:schemeClr val="bg1"/>
                </a:solidFill>
              </a:rPr>
              <a:t>Handführung</a:t>
            </a:r>
          </a:p>
        </p:txBody>
      </p:sp>
      <p:pic>
        <p:nvPicPr>
          <p:cNvPr id="3" name="Grafik 2"/>
          <p:cNvPicPr>
            <a:picLocks noChangeAspect="1"/>
          </p:cNvPicPr>
          <p:nvPr/>
        </p:nvPicPr>
        <p:blipFill>
          <a:blip r:embed="rId3"/>
          <a:stretch>
            <a:fillRect/>
          </a:stretch>
        </p:blipFill>
        <p:spPr>
          <a:xfrm>
            <a:off x="1561433" y="1615182"/>
            <a:ext cx="2805967" cy="3270956"/>
          </a:xfrm>
          <a:prstGeom prst="rect">
            <a:avLst/>
          </a:prstGeom>
        </p:spPr>
      </p:pic>
      <p:sp>
        <p:nvSpPr>
          <p:cNvPr id="20" name="Quelle"/>
          <p:cNvSpPr txBox="1">
            <a:spLocks noChangeArrowheads="1"/>
          </p:cNvSpPr>
          <p:nvPr/>
        </p:nvSpPr>
        <p:spPr bwMode="auto">
          <a:xfrm>
            <a:off x="7458074" y="6476611"/>
            <a:ext cx="9467851"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DGUV, TS/ISO 15066, ABB Bildquelle: ABB, Kuka</a:t>
            </a:r>
          </a:p>
        </p:txBody>
      </p:sp>
      <p:sp>
        <p:nvSpPr>
          <p:cNvPr id="6" name="Fußzeilenplatzhalter 5"/>
          <p:cNvSpPr>
            <a:spLocks noGrp="1"/>
          </p:cNvSpPr>
          <p:nvPr>
            <p:ph type="ftr" sz="quarter" idx="15"/>
          </p:nvPr>
        </p:nvSpPr>
        <p:spPr/>
        <p:txBody>
          <a:bodyPr/>
          <a:lstStyle/>
          <a:p>
            <a:pPr defTabSz="582069"/>
            <a:r>
              <a:rPr lang="de-DE" dirty="0"/>
              <a:t>Automation II</a:t>
            </a:r>
          </a:p>
        </p:txBody>
      </p:sp>
      <p:sp>
        <p:nvSpPr>
          <p:cNvPr id="7" name="Foliennummernplatzhalter 6"/>
          <p:cNvSpPr>
            <a:spLocks noGrp="1"/>
          </p:cNvSpPr>
          <p:nvPr>
            <p:ph type="sldNum" sz="quarter" idx="16"/>
          </p:nvPr>
        </p:nvSpPr>
        <p:spPr/>
        <p:txBody>
          <a:bodyPr/>
          <a:lstStyle/>
          <a:p>
            <a:fld id="{1E6235D0-FF99-C045-995D-75C61122D1C1}" type="slidenum">
              <a:rPr lang="de-DE" smtClean="0"/>
              <a:pPr/>
              <a:t>45</a:t>
            </a:fld>
            <a:endParaRPr lang="de-DE" dirty="0"/>
          </a:p>
        </p:txBody>
      </p:sp>
      <p:pic>
        <p:nvPicPr>
          <p:cNvPr id="5" name="Picture 2" descr="Bildergebnis fÃ¼r kuka iiwa teaching">
            <a:extLst>
              <a:ext uri="{FF2B5EF4-FFF2-40B4-BE49-F238E27FC236}">
                <a16:creationId xmlns:a16="http://schemas.microsoft.com/office/drawing/2014/main" id="{6090734A-A0A6-B849-44F9-E03D5B139B0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b="30964"/>
          <a:stretch/>
        </p:blipFill>
        <p:spPr bwMode="auto">
          <a:xfrm>
            <a:off x="7630683" y="1900133"/>
            <a:ext cx="3000518" cy="2997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611279"/>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9" y="452967"/>
            <a:ext cx="10369402" cy="483296"/>
          </a:xfrm>
        </p:spPr>
        <p:txBody>
          <a:bodyPr>
            <a:normAutofit fontScale="90000"/>
          </a:bodyPr>
          <a:lstStyle/>
          <a:p>
            <a:r>
              <a:rPr lang="de-DE" dirty="0"/>
              <a:t>TS ISO 15066: Sicherheitstechnische Anforderungen an die Mensch-Roboter-Kooperation </a:t>
            </a:r>
          </a:p>
        </p:txBody>
      </p:sp>
      <p:sp>
        <p:nvSpPr>
          <p:cNvPr id="18" name="Quelle"/>
          <p:cNvSpPr txBox="1">
            <a:spLocks noChangeArrowheads="1"/>
          </p:cNvSpPr>
          <p:nvPr/>
        </p:nvSpPr>
        <p:spPr bwMode="auto">
          <a:xfrm>
            <a:off x="7320367" y="6461313"/>
            <a:ext cx="9467851"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DGUV, TS/ISO 15066, ABB; Bildquelle: ABB, KUKA</a:t>
            </a:r>
          </a:p>
        </p:txBody>
      </p:sp>
      <p:grpSp>
        <p:nvGrpSpPr>
          <p:cNvPr id="3" name="Gruppieren 2"/>
          <p:cNvGrpSpPr>
            <a:grpSpLocks noChangeAspect="1"/>
          </p:cNvGrpSpPr>
          <p:nvPr/>
        </p:nvGrpSpPr>
        <p:grpSpPr>
          <a:xfrm>
            <a:off x="581037" y="1900456"/>
            <a:ext cx="4681512" cy="3077357"/>
            <a:chOff x="276701" y="1463670"/>
            <a:chExt cx="4517254" cy="2975995"/>
          </a:xfrm>
        </p:grpSpPr>
        <p:pic>
          <p:nvPicPr>
            <p:cNvPr id="5" name="Grafik 4"/>
            <p:cNvPicPr>
              <a:picLocks noChangeAspect="1"/>
            </p:cNvPicPr>
            <p:nvPr/>
          </p:nvPicPr>
          <p:blipFill>
            <a:blip r:embed="rId3"/>
            <a:stretch>
              <a:fillRect/>
            </a:stretch>
          </p:blipFill>
          <p:spPr>
            <a:xfrm>
              <a:off x="293954" y="1477224"/>
              <a:ext cx="4500001" cy="2962441"/>
            </a:xfrm>
            <a:prstGeom prst="rect">
              <a:avLst/>
            </a:prstGeom>
          </p:spPr>
        </p:pic>
        <p:sp>
          <p:nvSpPr>
            <p:cNvPr id="8" name="Rechteck 7"/>
            <p:cNvSpPr/>
            <p:nvPr/>
          </p:nvSpPr>
          <p:spPr bwMode="auto">
            <a:xfrm>
              <a:off x="276701" y="3950618"/>
              <a:ext cx="2389277" cy="482734"/>
            </a:xfrm>
            <a:prstGeom prst="rect">
              <a:avLst/>
            </a:prstGeom>
            <a:solidFill>
              <a:schemeClr val="bg1"/>
            </a:solidFill>
            <a:ln w="1079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de-DE" sz="1600" dirty="0">
                  <a:latin typeface="Arial" charset="0"/>
                </a:rPr>
                <a:t>Geschwindigkeits-überwachung</a:t>
              </a:r>
            </a:p>
          </p:txBody>
        </p:sp>
        <p:sp>
          <p:nvSpPr>
            <p:cNvPr id="20" name="Rechteck 19"/>
            <p:cNvSpPr/>
            <p:nvPr/>
          </p:nvSpPr>
          <p:spPr bwMode="auto">
            <a:xfrm>
              <a:off x="2543175" y="1463670"/>
              <a:ext cx="2250780" cy="392705"/>
            </a:xfrm>
            <a:prstGeom prst="rect">
              <a:avLst/>
            </a:prstGeom>
            <a:solidFill>
              <a:schemeClr val="bg1"/>
            </a:solidFill>
            <a:ln w="1079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7" fontAlgn="base">
                <a:spcBef>
                  <a:spcPct val="0"/>
                </a:spcBef>
                <a:spcAft>
                  <a:spcPct val="0"/>
                </a:spcAft>
              </a:pPr>
              <a:r>
                <a:rPr lang="de-DE" sz="1600" dirty="0">
                  <a:latin typeface="Arial" charset="0"/>
                </a:rPr>
                <a:t>Distanzüberwachung</a:t>
              </a:r>
            </a:p>
          </p:txBody>
        </p:sp>
      </p:grpSp>
      <p:sp>
        <p:nvSpPr>
          <p:cNvPr id="13" name="Rechteck 12"/>
          <p:cNvSpPr/>
          <p:nvPr/>
        </p:nvSpPr>
        <p:spPr>
          <a:xfrm>
            <a:off x="600287" y="1276528"/>
            <a:ext cx="4680000" cy="637943"/>
          </a:xfrm>
          <a:prstGeom prst="rect">
            <a:avLst/>
          </a:prstGeom>
          <a:solidFill>
            <a:schemeClr val="accent2">
              <a:lumMod val="50000"/>
            </a:schemeClr>
          </a:solidFill>
        </p:spPr>
        <p:txBody>
          <a:bodyPr wrap="square">
            <a:noAutofit/>
          </a:bodyPr>
          <a:lstStyle/>
          <a:p>
            <a:pPr algn="ctr"/>
            <a:r>
              <a:rPr lang="de-DE" sz="1867" dirty="0">
                <a:solidFill>
                  <a:schemeClr val="bg1"/>
                </a:solidFill>
              </a:rPr>
              <a:t>Geschwindigkeits- und Abstandsüberwachung</a:t>
            </a:r>
          </a:p>
        </p:txBody>
      </p:sp>
      <p:sp>
        <p:nvSpPr>
          <p:cNvPr id="6" name="Fußzeilenplatzhalter 5"/>
          <p:cNvSpPr>
            <a:spLocks noGrp="1"/>
          </p:cNvSpPr>
          <p:nvPr>
            <p:ph type="ftr" sz="quarter" idx="15"/>
          </p:nvPr>
        </p:nvSpPr>
        <p:spPr/>
        <p:txBody>
          <a:bodyPr/>
          <a:lstStyle/>
          <a:p>
            <a:pPr defTabSz="582069"/>
            <a:r>
              <a:rPr lang="de-DE"/>
              <a:t>Automation II</a:t>
            </a:r>
            <a:endParaRPr lang="de-DE" dirty="0"/>
          </a:p>
        </p:txBody>
      </p:sp>
      <p:sp>
        <p:nvSpPr>
          <p:cNvPr id="7" name="Foliennummernplatzhalter 6"/>
          <p:cNvSpPr>
            <a:spLocks noGrp="1"/>
          </p:cNvSpPr>
          <p:nvPr>
            <p:ph type="sldNum" sz="quarter" idx="16"/>
          </p:nvPr>
        </p:nvSpPr>
        <p:spPr/>
        <p:txBody>
          <a:bodyPr/>
          <a:lstStyle/>
          <a:p>
            <a:fld id="{1E6235D0-FF99-C045-995D-75C61122D1C1}" type="slidenum">
              <a:rPr lang="de-DE" smtClean="0"/>
              <a:pPr/>
              <a:t>46</a:t>
            </a:fld>
            <a:endParaRPr lang="de-DE" dirty="0"/>
          </a:p>
        </p:txBody>
      </p:sp>
      <p:sp>
        <p:nvSpPr>
          <p:cNvPr id="4" name="Textfeld 3">
            <a:extLst>
              <a:ext uri="{FF2B5EF4-FFF2-40B4-BE49-F238E27FC236}">
                <a16:creationId xmlns:a16="http://schemas.microsoft.com/office/drawing/2014/main" id="{BAA74BDB-19C9-FDCC-A832-71D3540E2E44}"/>
              </a:ext>
            </a:extLst>
          </p:cNvPr>
          <p:cNvSpPr txBox="1"/>
          <p:nvPr/>
        </p:nvSpPr>
        <p:spPr>
          <a:xfrm>
            <a:off x="383524" y="4943530"/>
            <a:ext cx="11584956" cy="1241622"/>
          </a:xfrm>
          <a:prstGeom prst="rect">
            <a:avLst/>
          </a:prstGeom>
          <a:noFill/>
          <a:ln>
            <a:solidFill>
              <a:schemeClr val="bg1"/>
            </a:solidFill>
          </a:ln>
        </p:spPr>
        <p:txBody>
          <a:bodyPr wrap="square" rtlCol="0">
            <a:spAutoFit/>
          </a:bodyPr>
          <a:lstStyle>
            <a:defPPr>
              <a:defRPr lang="de-DE"/>
            </a:defPPr>
            <a:lvl1pPr algn="ctr">
              <a:buClr>
                <a:srgbClr val="0D5893"/>
              </a:buClr>
              <a:defRPr sz="2000"/>
            </a:lvl1pPr>
          </a:lstStyle>
          <a:p>
            <a:pPr marL="342900" indent="-342900" algn="l">
              <a:buClrTx/>
              <a:buFont typeface="Wingdings" panose="05000000000000000000" pitchFamily="2" charset="2"/>
              <a:buChar char="§"/>
            </a:pPr>
            <a:r>
              <a:rPr lang="de-CH" sz="1867" dirty="0"/>
              <a:t>Roboter und Mensch bewegen sich gleichzeitig im Kollaborationsraum</a:t>
            </a:r>
          </a:p>
          <a:p>
            <a:pPr marL="342900" indent="-342900" algn="l">
              <a:buClrTx/>
              <a:buFont typeface="Wingdings" panose="05000000000000000000" pitchFamily="2" charset="2"/>
              <a:buChar char="§"/>
            </a:pPr>
            <a:r>
              <a:rPr lang="de-CH" sz="1867" dirty="0"/>
              <a:t>Der Abstand zwischen Mensch und Roboter wird sicherheitstechnisch überwacht</a:t>
            </a:r>
          </a:p>
          <a:p>
            <a:pPr marL="342900" indent="-342900" algn="l">
              <a:buClrTx/>
              <a:buFont typeface="Wingdings" panose="05000000000000000000" pitchFamily="2" charset="2"/>
              <a:buChar char="§"/>
            </a:pPr>
            <a:r>
              <a:rPr lang="de-CH" sz="1867" dirty="0"/>
              <a:t>Die Geschwindigkeit des Roboters variiert in Abhängigkeit vom Abstand zwischen Roboter und Mensch</a:t>
            </a:r>
          </a:p>
          <a:p>
            <a:pPr marL="342900" indent="-342900" algn="l">
              <a:buClrTx/>
              <a:buFont typeface="Wingdings" panose="05000000000000000000" pitchFamily="2" charset="2"/>
              <a:buChar char="§"/>
            </a:pPr>
            <a:r>
              <a:rPr lang="de-CH" sz="1867" dirty="0"/>
              <a:t>Kollision ist durch vorzeitigen Stillstand des Roboters ausgeschlossen</a:t>
            </a:r>
            <a:endParaRPr lang="de-DE" sz="1867" dirty="0"/>
          </a:p>
        </p:txBody>
      </p:sp>
    </p:spTree>
    <p:extLst>
      <p:ext uri="{BB962C8B-B14F-4D97-AF65-F5344CB8AC3E}">
        <p14:creationId xmlns:p14="http://schemas.microsoft.com/office/powerpoint/2010/main" val="831295496"/>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9" y="452967"/>
            <a:ext cx="10369402" cy="483296"/>
          </a:xfrm>
        </p:spPr>
        <p:txBody>
          <a:bodyPr>
            <a:normAutofit fontScale="90000"/>
          </a:bodyPr>
          <a:lstStyle/>
          <a:p>
            <a:r>
              <a:rPr lang="de-DE" dirty="0"/>
              <a:t>TS ISO 15066: Sicherheitstechnische Anforderungen an die Mensch-Roboter-Kooperation</a:t>
            </a:r>
          </a:p>
        </p:txBody>
      </p:sp>
      <p:sp>
        <p:nvSpPr>
          <p:cNvPr id="16" name="Rechteck 15"/>
          <p:cNvSpPr/>
          <p:nvPr/>
        </p:nvSpPr>
        <p:spPr>
          <a:xfrm>
            <a:off x="684057" y="1287947"/>
            <a:ext cx="4680000" cy="379656"/>
          </a:xfrm>
          <a:prstGeom prst="rect">
            <a:avLst/>
          </a:prstGeom>
          <a:solidFill>
            <a:schemeClr val="accent2">
              <a:lumMod val="50000"/>
            </a:schemeClr>
          </a:solidFill>
        </p:spPr>
        <p:txBody>
          <a:bodyPr wrap="square" anchor="ctr">
            <a:spAutoFit/>
          </a:bodyPr>
          <a:lstStyle/>
          <a:p>
            <a:pPr algn="ctr"/>
            <a:r>
              <a:rPr lang="de-DE" sz="1867" dirty="0">
                <a:solidFill>
                  <a:schemeClr val="bg1"/>
                </a:solidFill>
              </a:rPr>
              <a:t>Kraft- und Leistungsbegrenzung</a:t>
            </a:r>
          </a:p>
        </p:txBody>
      </p:sp>
      <p:sp>
        <p:nvSpPr>
          <p:cNvPr id="18" name="Quelle"/>
          <p:cNvSpPr txBox="1">
            <a:spLocks noChangeArrowheads="1"/>
          </p:cNvSpPr>
          <p:nvPr/>
        </p:nvSpPr>
        <p:spPr bwMode="auto">
          <a:xfrm>
            <a:off x="7320367" y="6461313"/>
            <a:ext cx="9467851"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DGUV, TS/ISO 15066, ABB; Bildquelle: ABB, KUKA</a:t>
            </a:r>
          </a:p>
        </p:txBody>
      </p:sp>
      <p:pic>
        <p:nvPicPr>
          <p:cNvPr id="14" name="Picture 2" descr="http://www.automationspraxis.de/image/image_gallery?img_id=38810291"/>
          <p:cNvPicPr>
            <a:picLocks noChangeAspect="1" noChangeArrowheads="1"/>
          </p:cNvPicPr>
          <p:nvPr/>
        </p:nvPicPr>
        <p:blipFill rotWithShape="1">
          <a:blip r:embed="rId3">
            <a:extLst>
              <a:ext uri="{28A0092B-C50C-407E-A947-70E740481C1C}">
                <a14:useLocalDpi xmlns:a14="http://schemas.microsoft.com/office/drawing/2010/main" val="0"/>
              </a:ext>
            </a:extLst>
          </a:blip>
          <a:srcRect l="-1" r="20487"/>
          <a:stretch/>
        </p:blipFill>
        <p:spPr bwMode="auto">
          <a:xfrm>
            <a:off x="751960" y="1680789"/>
            <a:ext cx="4544195" cy="3219451"/>
          </a:xfrm>
          <a:prstGeom prst="rect">
            <a:avLst/>
          </a:prstGeom>
          <a:noFill/>
          <a:extLst>
            <a:ext uri="{909E8E84-426E-40DD-AFC4-6F175D3DCCD1}">
              <a14:hiddenFill xmlns:a14="http://schemas.microsoft.com/office/drawing/2010/main">
                <a:solidFill>
                  <a:srgbClr val="FFFFFF"/>
                </a:solidFill>
              </a14:hiddenFill>
            </a:ext>
          </a:extLst>
        </p:spPr>
      </p:pic>
      <p:sp>
        <p:nvSpPr>
          <p:cNvPr id="6" name="Fußzeilenplatzhalter 5"/>
          <p:cNvSpPr>
            <a:spLocks noGrp="1"/>
          </p:cNvSpPr>
          <p:nvPr>
            <p:ph type="ftr" sz="quarter" idx="15"/>
          </p:nvPr>
        </p:nvSpPr>
        <p:spPr/>
        <p:txBody>
          <a:bodyPr/>
          <a:lstStyle/>
          <a:p>
            <a:pPr defTabSz="582069"/>
            <a:r>
              <a:rPr lang="de-DE"/>
              <a:t>Automation II</a:t>
            </a:r>
            <a:endParaRPr lang="de-DE" dirty="0"/>
          </a:p>
        </p:txBody>
      </p:sp>
      <p:sp>
        <p:nvSpPr>
          <p:cNvPr id="7" name="Foliennummernplatzhalter 6"/>
          <p:cNvSpPr>
            <a:spLocks noGrp="1"/>
          </p:cNvSpPr>
          <p:nvPr>
            <p:ph type="sldNum" sz="quarter" idx="16"/>
          </p:nvPr>
        </p:nvSpPr>
        <p:spPr/>
        <p:txBody>
          <a:bodyPr/>
          <a:lstStyle/>
          <a:p>
            <a:fld id="{1E6235D0-FF99-C045-995D-75C61122D1C1}" type="slidenum">
              <a:rPr lang="de-DE" smtClean="0"/>
              <a:pPr/>
              <a:t>47</a:t>
            </a:fld>
            <a:endParaRPr lang="de-DE" dirty="0"/>
          </a:p>
        </p:txBody>
      </p:sp>
      <p:sp>
        <p:nvSpPr>
          <p:cNvPr id="4" name="Textfeld 3">
            <a:extLst>
              <a:ext uri="{FF2B5EF4-FFF2-40B4-BE49-F238E27FC236}">
                <a16:creationId xmlns:a16="http://schemas.microsoft.com/office/drawing/2014/main" id="{BAA74BDB-19C9-FDCC-A832-71D3540E2E44}"/>
              </a:ext>
            </a:extLst>
          </p:cNvPr>
          <p:cNvSpPr txBox="1"/>
          <p:nvPr/>
        </p:nvSpPr>
        <p:spPr>
          <a:xfrm>
            <a:off x="383524" y="4943530"/>
            <a:ext cx="11879596" cy="1241622"/>
          </a:xfrm>
          <a:prstGeom prst="rect">
            <a:avLst/>
          </a:prstGeom>
          <a:noFill/>
          <a:ln>
            <a:solidFill>
              <a:schemeClr val="bg1"/>
            </a:solidFill>
          </a:ln>
        </p:spPr>
        <p:txBody>
          <a:bodyPr wrap="square" rtlCol="0">
            <a:spAutoFit/>
          </a:bodyPr>
          <a:lstStyle>
            <a:defPPr>
              <a:defRPr lang="de-DE"/>
            </a:defPPr>
            <a:lvl1pPr algn="ctr">
              <a:buClr>
                <a:srgbClr val="0D5893"/>
              </a:buClr>
              <a:defRPr sz="2000"/>
            </a:lvl1pPr>
          </a:lstStyle>
          <a:p>
            <a:pPr marL="342900" indent="-342900" algn="l">
              <a:buClrTx/>
              <a:buFont typeface="Wingdings" panose="05000000000000000000" pitchFamily="2" charset="2"/>
              <a:buChar char="§"/>
            </a:pPr>
            <a:r>
              <a:rPr lang="de-CH" sz="1867" dirty="0"/>
              <a:t>physischer Kontakt zwischen Mensch und Roboter ist möglich (beabsichtigt oder nicht beabsichtigt)</a:t>
            </a:r>
          </a:p>
          <a:p>
            <a:pPr marL="342900" indent="-342900" algn="l">
              <a:buClrTx/>
              <a:buFont typeface="Wingdings" panose="05000000000000000000" pitchFamily="2" charset="2"/>
              <a:buChar char="§"/>
            </a:pPr>
            <a:r>
              <a:rPr lang="de-CH" sz="1867" dirty="0"/>
              <a:t>Risikominderung durch inhärent sichere Konstruktion (Roboter)</a:t>
            </a:r>
          </a:p>
          <a:p>
            <a:pPr marL="342900" indent="-342900" algn="l">
              <a:buClrTx/>
              <a:buFont typeface="Wingdings" panose="05000000000000000000" pitchFamily="2" charset="2"/>
              <a:buChar char="§"/>
            </a:pPr>
            <a:r>
              <a:rPr lang="de-CH" sz="1867" dirty="0"/>
              <a:t>Risikominderung durch Roboter-Sicherheitsfunktionen</a:t>
            </a:r>
          </a:p>
          <a:p>
            <a:pPr marL="342900" indent="-342900" algn="l">
              <a:buClrTx/>
              <a:buFont typeface="Wingdings" panose="05000000000000000000" pitchFamily="2" charset="2"/>
              <a:buChar char="§"/>
            </a:pPr>
            <a:r>
              <a:rPr lang="de-CH" sz="1867" dirty="0"/>
              <a:t>Kollision möglich unter bestimmten Umständen und löst sicheren Halt aus</a:t>
            </a:r>
            <a:endParaRPr lang="de-DE" sz="1867" dirty="0"/>
          </a:p>
        </p:txBody>
      </p:sp>
    </p:spTree>
    <p:extLst>
      <p:ext uri="{BB962C8B-B14F-4D97-AF65-F5344CB8AC3E}">
        <p14:creationId xmlns:p14="http://schemas.microsoft.com/office/powerpoint/2010/main" val="54113326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5422" y="139433"/>
            <a:ext cx="11626578" cy="794023"/>
          </a:xfrm>
        </p:spPr>
        <p:txBody>
          <a:bodyPr>
            <a:noAutofit/>
          </a:bodyPr>
          <a:lstStyle/>
          <a:p>
            <a:pPr>
              <a:lnSpc>
                <a:spcPct val="100000"/>
              </a:lnSpc>
            </a:pPr>
            <a:r>
              <a:rPr lang="de-DE" dirty="0"/>
              <a:t>Medizinische/ Biomechanische Anforderungen</a:t>
            </a:r>
          </a:p>
        </p:txBody>
      </p:sp>
      <p:sp>
        <p:nvSpPr>
          <p:cNvPr id="4" name="Fußzeilenplatzhalter 3"/>
          <p:cNvSpPr>
            <a:spLocks noGrp="1"/>
          </p:cNvSpPr>
          <p:nvPr>
            <p:ph type="ftr" sz="quarter" idx="15"/>
          </p:nvPr>
        </p:nvSpPr>
        <p:spPr/>
        <p:txBody>
          <a:bodyPr/>
          <a:lstStyle/>
          <a:p>
            <a:pPr defTabSz="582069"/>
            <a:r>
              <a:rPr lang="de-DE"/>
              <a:t>Automation II</a:t>
            </a:r>
            <a:endParaRPr lang="de-DE" dirty="0"/>
          </a:p>
        </p:txBody>
      </p:sp>
      <p:sp>
        <p:nvSpPr>
          <p:cNvPr id="6" name="Foliennummernplatzhalter 5"/>
          <p:cNvSpPr>
            <a:spLocks noGrp="1"/>
          </p:cNvSpPr>
          <p:nvPr>
            <p:ph type="sldNum" sz="quarter" idx="16"/>
          </p:nvPr>
        </p:nvSpPr>
        <p:spPr/>
        <p:txBody>
          <a:bodyPr/>
          <a:lstStyle/>
          <a:p>
            <a:fld id="{1E6235D0-FF99-C045-995D-75C61122D1C1}" type="slidenum">
              <a:rPr lang="de-DE" smtClean="0"/>
              <a:pPr/>
              <a:t>48</a:t>
            </a:fld>
            <a:endParaRPr lang="de-DE" dirty="0"/>
          </a:p>
        </p:txBody>
      </p:sp>
      <p:sp>
        <p:nvSpPr>
          <p:cNvPr id="26" name="Quelle"/>
          <p:cNvSpPr txBox="1">
            <a:spLocks noChangeArrowheads="1"/>
          </p:cNvSpPr>
          <p:nvPr/>
        </p:nvSpPr>
        <p:spPr bwMode="auto">
          <a:xfrm>
            <a:off x="9559595" y="6515434"/>
            <a:ext cx="10099040" cy="20313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DGUV, IFA</a:t>
            </a:r>
          </a:p>
        </p:txBody>
      </p:sp>
      <p:sp>
        <p:nvSpPr>
          <p:cNvPr id="27" name="Rechteck 26"/>
          <p:cNvSpPr/>
          <p:nvPr/>
        </p:nvSpPr>
        <p:spPr bwMode="auto">
          <a:xfrm>
            <a:off x="4338794" y="5132553"/>
            <a:ext cx="930503" cy="1301727"/>
          </a:xfrm>
          <a:prstGeom prst="rect">
            <a:avLst/>
          </a:prstGeom>
          <a:solidFill>
            <a:schemeClr val="bg1"/>
          </a:solidFill>
          <a:ln w="8636" cap="flat" cmpd="sng" algn="ctr">
            <a:solidFill>
              <a:schemeClr val="bg1"/>
            </a:solidFill>
            <a:prstDash val="solid"/>
            <a:round/>
            <a:headEnd type="none" w="med" len="med"/>
            <a:tailEnd type="none" w="med" len="med"/>
          </a:ln>
          <a:effectLst/>
        </p:spPr>
        <p:txBody>
          <a:bodyPr vert="horz" wrap="square" lIns="97536" tIns="48768" rIns="97536" bIns="48768"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sp>
        <p:nvSpPr>
          <p:cNvPr id="28" name="Rectangle 3"/>
          <p:cNvSpPr txBox="1">
            <a:spLocks noChangeArrowheads="1"/>
          </p:cNvSpPr>
          <p:nvPr/>
        </p:nvSpPr>
        <p:spPr bwMode="auto">
          <a:xfrm>
            <a:off x="590207" y="2055647"/>
            <a:ext cx="4407944" cy="4192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92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43834" indent="-243834">
              <a:buClr>
                <a:schemeClr val="tx1"/>
              </a:buClr>
            </a:pPr>
            <a:r>
              <a:rPr lang="de-DE" sz="2133" kern="0" dirty="0">
                <a:latin typeface="+mj-lt"/>
              </a:rPr>
              <a:t>Die Beanspruchungseffekte </a:t>
            </a:r>
            <a:br>
              <a:rPr lang="de-DE" sz="2133" kern="0" dirty="0">
                <a:latin typeface="+mj-lt"/>
              </a:rPr>
            </a:br>
            <a:r>
              <a:rPr lang="de-DE" sz="2133" kern="0" dirty="0">
                <a:latin typeface="+mj-lt"/>
              </a:rPr>
              <a:t>durch Kollision müssen begrenzt werden</a:t>
            </a:r>
          </a:p>
          <a:p>
            <a:pPr marL="243834" indent="-243834">
              <a:buClr>
                <a:schemeClr val="tx1"/>
              </a:buClr>
            </a:pPr>
            <a:r>
              <a:rPr lang="de-DE" sz="2133" kern="0" dirty="0">
                <a:latin typeface="+mj-lt"/>
              </a:rPr>
              <a:t>Tolerable Schwere einer </a:t>
            </a:r>
            <a:br>
              <a:rPr lang="de-DE" sz="2133" kern="0" dirty="0">
                <a:latin typeface="+mj-lt"/>
              </a:rPr>
            </a:br>
            <a:r>
              <a:rPr lang="de-DE" sz="2133" kern="0" dirty="0">
                <a:latin typeface="+mj-lt"/>
              </a:rPr>
              <a:t>Verletzung ist die Beanspruch</a:t>
            </a:r>
            <a:br>
              <a:rPr lang="de-DE" sz="2133" kern="0" dirty="0">
                <a:latin typeface="+mj-lt"/>
              </a:rPr>
            </a:br>
            <a:r>
              <a:rPr lang="de-DE" sz="2133" kern="0" dirty="0">
                <a:latin typeface="+mj-lt"/>
              </a:rPr>
              <a:t>-</a:t>
            </a:r>
            <a:r>
              <a:rPr lang="de-DE" sz="2133" kern="0" dirty="0" err="1">
                <a:latin typeface="+mj-lt"/>
              </a:rPr>
              <a:t>ung</a:t>
            </a:r>
            <a:r>
              <a:rPr lang="de-DE" sz="2133" kern="0" dirty="0">
                <a:latin typeface="+mj-lt"/>
              </a:rPr>
              <a:t> von Haut und Gewebe</a:t>
            </a:r>
          </a:p>
          <a:p>
            <a:pPr marL="243834" indent="-243834">
              <a:buClr>
                <a:schemeClr val="tx1"/>
              </a:buClr>
            </a:pPr>
            <a:r>
              <a:rPr lang="de-DE" sz="2133" kern="0" dirty="0">
                <a:latin typeface="+mj-lt"/>
              </a:rPr>
              <a:t>Frakturen oder anderweitige Schäden des Muskel-Skelett-Systems müssen unbedingt</a:t>
            </a:r>
            <a:br>
              <a:rPr lang="de-DE" sz="2133" kern="0" dirty="0">
                <a:latin typeface="+mj-lt"/>
              </a:rPr>
            </a:br>
            <a:r>
              <a:rPr lang="de-DE" sz="2133" kern="0" dirty="0">
                <a:latin typeface="+mj-lt"/>
              </a:rPr>
              <a:t>ausgeschlossen sein</a:t>
            </a:r>
          </a:p>
          <a:p>
            <a:pPr marL="0" indent="0">
              <a:buNone/>
            </a:pPr>
            <a:endParaRPr lang="de-DE" sz="2400" kern="0" dirty="0"/>
          </a:p>
        </p:txBody>
      </p:sp>
      <p:pic>
        <p:nvPicPr>
          <p:cNvPr id="5" name="Grafik 4"/>
          <p:cNvPicPr>
            <a:picLocks noChangeAspect="1"/>
          </p:cNvPicPr>
          <p:nvPr/>
        </p:nvPicPr>
        <p:blipFill rotWithShape="1">
          <a:blip r:embed="rId3"/>
          <a:srcRect r="8642"/>
          <a:stretch/>
        </p:blipFill>
        <p:spPr>
          <a:xfrm>
            <a:off x="5480533" y="4451993"/>
            <a:ext cx="3930977" cy="2220365"/>
          </a:xfrm>
          <a:prstGeom prst="rect">
            <a:avLst/>
          </a:prstGeom>
        </p:spPr>
      </p:pic>
      <p:pic>
        <p:nvPicPr>
          <p:cNvPr id="7" name="Grafik 6"/>
          <p:cNvPicPr>
            <a:picLocks noChangeAspect="1"/>
          </p:cNvPicPr>
          <p:nvPr/>
        </p:nvPicPr>
        <p:blipFill rotWithShape="1">
          <a:blip r:embed="rId4"/>
          <a:srcRect l="5231" r="7388"/>
          <a:stretch/>
        </p:blipFill>
        <p:spPr>
          <a:xfrm>
            <a:off x="5480533" y="1711964"/>
            <a:ext cx="3930977" cy="2607705"/>
          </a:xfrm>
          <a:prstGeom prst="rect">
            <a:avLst/>
          </a:prstGeom>
        </p:spPr>
      </p:pic>
      <p:sp>
        <p:nvSpPr>
          <p:cNvPr id="8" name="Textfeld 7">
            <a:extLst>
              <a:ext uri="{FF2B5EF4-FFF2-40B4-BE49-F238E27FC236}">
                <a16:creationId xmlns:a16="http://schemas.microsoft.com/office/drawing/2014/main" id="{D5C1DAEC-F592-D9AA-14E5-602CBD843750}"/>
              </a:ext>
            </a:extLst>
          </p:cNvPr>
          <p:cNvSpPr txBox="1"/>
          <p:nvPr/>
        </p:nvSpPr>
        <p:spPr>
          <a:xfrm>
            <a:off x="441808" y="933456"/>
            <a:ext cx="11940692" cy="830997"/>
          </a:xfrm>
          <a:prstGeom prst="rect">
            <a:avLst/>
          </a:prstGeom>
          <a:noFill/>
        </p:spPr>
        <p:txBody>
          <a:bodyPr wrap="square">
            <a:spAutoFit/>
          </a:bodyPr>
          <a:lstStyle/>
          <a:p>
            <a:r>
              <a:rPr lang="de-DE" sz="2400" dirty="0"/>
              <a:t>Da Kollisionen zwischen Roboter und Mensch sind nicht gänzlich auszuschließen Sind, wurden Medizinische/ Biomechanische Anforderungen definiert </a:t>
            </a:r>
            <a:endParaRPr lang="de-CH" sz="2400" dirty="0"/>
          </a:p>
        </p:txBody>
      </p:sp>
    </p:spTree>
    <p:extLst>
      <p:ext uri="{BB962C8B-B14F-4D97-AF65-F5344CB8AC3E}">
        <p14:creationId xmlns:p14="http://schemas.microsoft.com/office/powerpoint/2010/main" val="3330145430"/>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154330"/>
            <a:ext cx="9023349" cy="781933"/>
          </a:xfrm>
        </p:spPr>
        <p:txBody>
          <a:bodyPr>
            <a:noAutofit/>
          </a:bodyPr>
          <a:lstStyle/>
          <a:p>
            <a:pPr>
              <a:lnSpc>
                <a:spcPct val="100000"/>
              </a:lnSpc>
            </a:pPr>
            <a:r>
              <a:rPr lang="de-DE" dirty="0"/>
              <a:t>TS ISO 15066: </a:t>
            </a:r>
            <a:r>
              <a:rPr lang="de-DE" dirty="0" err="1"/>
              <a:t>Biomechanical</a:t>
            </a:r>
            <a:r>
              <a:rPr lang="de-DE" dirty="0"/>
              <a:t> </a:t>
            </a:r>
            <a:r>
              <a:rPr lang="de-DE" dirty="0" err="1"/>
              <a:t>limits</a:t>
            </a:r>
            <a:endParaRPr lang="de-DE" dirty="0"/>
          </a:p>
        </p:txBody>
      </p:sp>
      <p:sp>
        <p:nvSpPr>
          <p:cNvPr id="3" name="Fußzeilenplatzhalter 2"/>
          <p:cNvSpPr>
            <a:spLocks noGrp="1"/>
          </p:cNvSpPr>
          <p:nvPr>
            <p:ph type="ftr" sz="quarter" idx="15"/>
          </p:nvPr>
        </p:nvSpPr>
        <p:spPr/>
        <p:txBody>
          <a:bodyPr/>
          <a:lstStyle/>
          <a:p>
            <a:pPr defTabSz="582069"/>
            <a:r>
              <a:rPr lang="de-DE"/>
              <a:t>Automation II</a:t>
            </a:r>
            <a:endParaRPr lang="de-DE" dirty="0"/>
          </a:p>
        </p:txBody>
      </p:sp>
      <p:sp>
        <p:nvSpPr>
          <p:cNvPr id="4" name="Foliennummernplatzhalter 3"/>
          <p:cNvSpPr>
            <a:spLocks noGrp="1"/>
          </p:cNvSpPr>
          <p:nvPr>
            <p:ph type="sldNum" sz="quarter" idx="16"/>
          </p:nvPr>
        </p:nvSpPr>
        <p:spPr/>
        <p:txBody>
          <a:bodyPr/>
          <a:lstStyle/>
          <a:p>
            <a:fld id="{1E6235D0-FF99-C045-995D-75C61122D1C1}" type="slidenum">
              <a:rPr lang="de-DE" smtClean="0"/>
              <a:pPr/>
              <a:t>49</a:t>
            </a:fld>
            <a:endParaRPr lang="de-DE" dirty="0"/>
          </a:p>
        </p:txBody>
      </p:sp>
      <p:grpSp>
        <p:nvGrpSpPr>
          <p:cNvPr id="15" name="Gruppieren 14"/>
          <p:cNvGrpSpPr>
            <a:grpSpLocks/>
          </p:cNvGrpSpPr>
          <p:nvPr/>
        </p:nvGrpSpPr>
        <p:grpSpPr>
          <a:xfrm>
            <a:off x="633307" y="576098"/>
            <a:ext cx="17656651" cy="6298142"/>
            <a:chOff x="368300" y="519402"/>
            <a:chExt cx="15579396" cy="5557184"/>
          </a:xfrm>
        </p:grpSpPr>
        <p:pic>
          <p:nvPicPr>
            <p:cNvPr id="16" name="Grafik 15"/>
            <p:cNvPicPr>
              <a:picLocks noChangeAspect="1"/>
            </p:cNvPicPr>
            <p:nvPr/>
          </p:nvPicPr>
          <p:blipFill>
            <a:blip r:embed="rId3"/>
            <a:stretch>
              <a:fillRect/>
            </a:stretch>
          </p:blipFill>
          <p:spPr>
            <a:xfrm>
              <a:off x="4011041" y="1173268"/>
              <a:ext cx="2139188" cy="4657655"/>
            </a:xfrm>
            <a:prstGeom prst="rect">
              <a:avLst/>
            </a:prstGeom>
          </p:spPr>
        </p:pic>
        <p:sp>
          <p:nvSpPr>
            <p:cNvPr id="19" name="Rectangle 3"/>
            <p:cNvSpPr txBox="1">
              <a:spLocks noChangeArrowheads="1"/>
            </p:cNvSpPr>
            <p:nvPr/>
          </p:nvSpPr>
          <p:spPr bwMode="auto">
            <a:xfrm>
              <a:off x="368300" y="1016000"/>
              <a:ext cx="3994150" cy="485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04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243834" indent="-243834">
                <a:buClr>
                  <a:schemeClr val="tx1"/>
                </a:buClr>
              </a:pPr>
              <a:r>
                <a:rPr lang="de-DE" sz="2133" kern="0" dirty="0">
                  <a:latin typeface="+mj-lt"/>
                </a:rPr>
                <a:t>Die Schwere einer Verletzung kann durch </a:t>
              </a:r>
              <a:r>
                <a:rPr lang="de-DE" sz="2133" kern="0" dirty="0" err="1">
                  <a:latin typeface="+mj-lt"/>
                </a:rPr>
                <a:t>Biomechanical</a:t>
              </a:r>
              <a:r>
                <a:rPr lang="de-DE" sz="2133" kern="0" dirty="0">
                  <a:latin typeface="+mj-lt"/>
                </a:rPr>
                <a:t> </a:t>
              </a:r>
              <a:r>
                <a:rPr lang="de-DE" sz="2133" kern="0" dirty="0" err="1">
                  <a:latin typeface="+mj-lt"/>
                </a:rPr>
                <a:t>limits</a:t>
              </a:r>
              <a:r>
                <a:rPr lang="de-DE" sz="2133" kern="0" dirty="0">
                  <a:latin typeface="+mj-lt"/>
                </a:rPr>
                <a:t> abgebildet werden.</a:t>
              </a:r>
            </a:p>
            <a:p>
              <a:pPr marL="243834" indent="-243834">
                <a:buClr>
                  <a:schemeClr val="tx1"/>
                </a:buClr>
              </a:pPr>
              <a:r>
                <a:rPr lang="de-DE" sz="2133" kern="0" dirty="0">
                  <a:latin typeface="+mj-lt"/>
                </a:rPr>
                <a:t>Die Verletzungsdaten wurden aufgrund äußerer mechanischer Belastungen ermittelt.</a:t>
              </a:r>
            </a:p>
            <a:p>
              <a:pPr marL="243834" indent="-243834">
                <a:buClr>
                  <a:schemeClr val="tx1"/>
                </a:buClr>
              </a:pPr>
              <a:r>
                <a:rPr lang="de-DE" sz="2133" kern="0" dirty="0">
                  <a:latin typeface="+mj-lt"/>
                </a:rPr>
                <a:t>Erste orientierende Grenzwerte wurden mittels eines einfachen Körpermodells festgelegt.</a:t>
              </a:r>
            </a:p>
            <a:p>
              <a:pPr marL="243834" indent="-243834">
                <a:buClr>
                  <a:schemeClr val="tx1"/>
                </a:buClr>
              </a:pPr>
              <a:r>
                <a:rPr lang="de-DE" sz="2133" kern="0" dirty="0">
                  <a:latin typeface="+mj-lt"/>
                </a:rPr>
                <a:t>Grenzwerte wurden durch verschiedene Kontrollversuche im Labor punktuell überprüft</a:t>
              </a:r>
            </a:p>
            <a:p>
              <a:pPr marL="243834" indent="-243834">
                <a:buClr>
                  <a:schemeClr val="tx1"/>
                </a:buClr>
              </a:pPr>
              <a:r>
                <a:rPr lang="de-DE" sz="2133" kern="0" dirty="0">
                  <a:latin typeface="+mj-lt"/>
                </a:rPr>
                <a:t>Die ermittelten Grenzwerte gelten als vorläufig</a:t>
              </a:r>
            </a:p>
            <a:p>
              <a:pPr marL="304792" indent="-304792"/>
              <a:endParaRPr lang="de-DE" sz="2400" kern="0" dirty="0"/>
            </a:p>
          </p:txBody>
        </p:sp>
        <p:sp>
          <p:nvSpPr>
            <p:cNvPr id="20" name="Quelle"/>
            <p:cNvSpPr txBox="1">
              <a:spLocks noChangeArrowheads="1"/>
            </p:cNvSpPr>
            <p:nvPr/>
          </p:nvSpPr>
          <p:spPr bwMode="auto">
            <a:xfrm>
              <a:off x="6479846" y="5897351"/>
              <a:ext cx="9467850" cy="17923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DGUV11, IFA; Bild: TS ISO 15066  </a:t>
              </a:r>
            </a:p>
          </p:txBody>
        </p:sp>
        <p:pic>
          <p:nvPicPr>
            <p:cNvPr id="21" name="Grafik 20"/>
            <p:cNvPicPr>
              <a:picLocks noChangeAspect="1"/>
            </p:cNvPicPr>
            <p:nvPr/>
          </p:nvPicPr>
          <p:blipFill rotWithShape="1">
            <a:blip r:embed="rId4"/>
            <a:srcRect r="28320"/>
            <a:stretch/>
          </p:blipFill>
          <p:spPr>
            <a:xfrm>
              <a:off x="6729930" y="519402"/>
              <a:ext cx="3686102" cy="4856763"/>
            </a:xfrm>
            <a:prstGeom prst="rect">
              <a:avLst/>
            </a:prstGeom>
          </p:spPr>
        </p:pic>
        <p:sp>
          <p:nvSpPr>
            <p:cNvPr id="22" name="Textfeld 21"/>
            <p:cNvSpPr txBox="1"/>
            <p:nvPr/>
          </p:nvSpPr>
          <p:spPr>
            <a:xfrm>
              <a:off x="4261788" y="775093"/>
              <a:ext cx="1848686" cy="369332"/>
            </a:xfrm>
            <a:prstGeom prst="rect">
              <a:avLst/>
            </a:prstGeom>
            <a:noFill/>
          </p:spPr>
          <p:txBody>
            <a:bodyPr wrap="square" lIns="103632" tIns="51816" rIns="103632" bIns="51816" rtlCol="0">
              <a:spAutoFit/>
            </a:bodyPr>
            <a:lstStyle/>
            <a:p>
              <a:pPr algn="ctr"/>
              <a:r>
                <a:rPr lang="de-DE" sz="2040" dirty="0"/>
                <a:t>Auszuschließen</a:t>
              </a:r>
            </a:p>
          </p:txBody>
        </p:sp>
        <p:cxnSp>
          <p:nvCxnSpPr>
            <p:cNvPr id="23" name="Gerader Verbinder 22"/>
            <p:cNvCxnSpPr>
              <a:stCxn id="22" idx="1"/>
            </p:cNvCxnSpPr>
            <p:nvPr/>
          </p:nvCxnSpPr>
          <p:spPr bwMode="auto">
            <a:xfrm>
              <a:off x="4261788" y="959759"/>
              <a:ext cx="310212" cy="663545"/>
            </a:xfrm>
            <a:prstGeom prst="line">
              <a:avLst/>
            </a:prstGeom>
            <a:noFill/>
            <a:ln w="32385" cap="flat" cmpd="sng" algn="ctr">
              <a:solidFill>
                <a:srgbClr val="FF0000"/>
              </a:solidFill>
              <a:prstDash val="solid"/>
              <a:round/>
              <a:headEnd type="none" w="med" len="med"/>
              <a:tailEnd type="none" w="med" len="med"/>
            </a:ln>
            <a:effectLst/>
          </p:spPr>
        </p:cxnSp>
        <p:sp>
          <p:nvSpPr>
            <p:cNvPr id="24" name="Ellipse 23"/>
            <p:cNvSpPr/>
            <p:nvPr/>
          </p:nvSpPr>
          <p:spPr bwMode="auto">
            <a:xfrm>
              <a:off x="4572000" y="1131911"/>
              <a:ext cx="1184856" cy="1044620"/>
            </a:xfrm>
            <a:prstGeom prst="ellipse">
              <a:avLst/>
            </a:prstGeom>
            <a:noFill/>
            <a:ln w="32385" cap="flat" cmpd="sng" algn="ctr">
              <a:solidFill>
                <a:srgbClr val="FF0000"/>
              </a:solidFill>
              <a:prstDash val="solid"/>
              <a:round/>
              <a:headEnd type="none" w="med" len="med"/>
              <a:tailEnd type="none" w="med" len="med"/>
            </a:ln>
            <a:effectLst/>
          </p:spPr>
          <p:txBody>
            <a:bodyPr vert="horz" wrap="square" lIns="103632" tIns="51816" rIns="103632" bIns="51816" numCol="1" rtlCol="0" anchor="t" anchorCtr="0" compatLnSpc="1">
              <a:prstTxWarp prst="textNoShape">
                <a:avLst/>
              </a:prstTxWarp>
            </a:bodyPr>
            <a:lstStyle/>
            <a:p>
              <a:pPr defTabSz="1219170" fontAlgn="base">
                <a:spcBef>
                  <a:spcPct val="0"/>
                </a:spcBef>
                <a:spcAft>
                  <a:spcPct val="0"/>
                </a:spcAft>
              </a:pPr>
              <a:endParaRPr lang="de-DE" sz="2400" dirty="0">
                <a:latin typeface="Arial" charset="0"/>
              </a:endParaRPr>
            </a:p>
          </p:txBody>
        </p:sp>
        <p:cxnSp>
          <p:nvCxnSpPr>
            <p:cNvPr id="25" name="Gerader Verbinder 24"/>
            <p:cNvCxnSpPr>
              <a:stCxn id="22" idx="3"/>
              <a:endCxn id="24" idx="6"/>
            </p:cNvCxnSpPr>
            <p:nvPr/>
          </p:nvCxnSpPr>
          <p:spPr bwMode="auto">
            <a:xfrm flipH="1">
              <a:off x="5756856" y="959759"/>
              <a:ext cx="353618" cy="694463"/>
            </a:xfrm>
            <a:prstGeom prst="line">
              <a:avLst/>
            </a:prstGeom>
            <a:noFill/>
            <a:ln w="32385" cap="flat" cmpd="sng" algn="ctr">
              <a:solidFill>
                <a:srgbClr val="FF0000"/>
              </a:solidFill>
              <a:prstDash val="solid"/>
              <a:round/>
              <a:headEnd type="none" w="med" len="med"/>
              <a:tailEnd type="none" w="med" len="med"/>
            </a:ln>
            <a:effectLst/>
          </p:spPr>
        </p:cxnSp>
      </p:grpSp>
    </p:spTree>
    <p:extLst>
      <p:ext uri="{BB962C8B-B14F-4D97-AF65-F5344CB8AC3E}">
        <p14:creationId xmlns:p14="http://schemas.microsoft.com/office/powerpoint/2010/main" val="2593616376"/>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3"/>
          <p:cNvSpPr txBox="1">
            <a:spLocks noChangeArrowheads="1"/>
          </p:cNvSpPr>
          <p:nvPr>
            <p:custDataLst>
              <p:tags r:id="rId1"/>
            </p:custDataLst>
          </p:nvPr>
        </p:nvSpPr>
        <p:spPr bwMode="auto">
          <a:xfrm>
            <a:off x="1592157" y="2529619"/>
            <a:ext cx="8766312" cy="3856443"/>
          </a:xfrm>
          <a:prstGeom prst="rect">
            <a:avLst/>
          </a:prstGeom>
          <a:solidFill>
            <a:schemeClr val="bg1"/>
          </a:solidFill>
          <a:ln w="21590" cap="flat" cmpd="sng" algn="ctr">
            <a:solidFill>
              <a:srgbClr val="0D5893"/>
            </a:solidFill>
            <a:prstDash val="solid"/>
            <a:miter lim="800000"/>
            <a:headEnd type="none" w="med" len="med"/>
            <a:tailEnd type="none" w="med" len="med"/>
          </a:ln>
          <a:effectLst/>
        </p:spPr>
        <p:txBody>
          <a:bodyPr vert="horz" wrap="square" lIns="360045" tIns="108014" rIns="90011" bIns="46806" numCol="1" anchor="t" anchorCtr="0" compatLnSpc="1">
            <a:prstTxWarp prst="textNoShape">
              <a:avLst/>
            </a:prstTxWarp>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a:buClr>
                <a:srgbClr val="005674"/>
              </a:buClr>
              <a:buNone/>
            </a:pPr>
            <a:endParaRPr lang="de-DE" dirty="0"/>
          </a:p>
        </p:txBody>
      </p:sp>
      <p:sp>
        <p:nvSpPr>
          <p:cNvPr id="13" name="Rectangle 3"/>
          <p:cNvSpPr txBox="1">
            <a:spLocks noChangeArrowheads="1"/>
          </p:cNvSpPr>
          <p:nvPr>
            <p:custDataLst>
              <p:tags r:id="rId2"/>
            </p:custDataLst>
          </p:nvPr>
        </p:nvSpPr>
        <p:spPr bwMode="auto">
          <a:xfrm>
            <a:off x="1820755" y="3220217"/>
            <a:ext cx="3824764" cy="3039999"/>
          </a:xfrm>
          <a:prstGeom prst="rect">
            <a:avLst/>
          </a:prstGeom>
          <a:solidFill>
            <a:schemeClr val="bg1"/>
          </a:solidFill>
          <a:ln w="21590" cap="flat" cmpd="sng" algn="ctr">
            <a:solidFill>
              <a:srgbClr val="0D5893"/>
            </a:solidFill>
            <a:prstDash val="solid"/>
            <a:miter lim="800000"/>
            <a:headEnd type="none" w="med" len="med"/>
            <a:tailEnd type="none" w="med" len="med"/>
          </a:ln>
          <a:effectLst/>
        </p:spPr>
        <p:txBody>
          <a:bodyPr vert="horz" wrap="square" lIns="360045" tIns="108014" rIns="90011" bIns="46806" numCol="1" anchor="t" anchorCtr="0" compatLnSpc="1">
            <a:prstTxWarp prst="textNoShape">
              <a:avLst/>
            </a:prstTxWarp>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a:buClr>
                <a:srgbClr val="005674"/>
              </a:buClr>
            </a:pPr>
            <a:r>
              <a:rPr lang="de-DE" dirty="0"/>
              <a:t>Funktionale Sicherheit</a:t>
            </a:r>
          </a:p>
          <a:p>
            <a:pPr>
              <a:buClr>
                <a:srgbClr val="005674"/>
              </a:buClr>
            </a:pPr>
            <a:r>
              <a:rPr lang="de-DE" dirty="0"/>
              <a:t>Schutz des Menschen und der Umgebung vor einem technischen System</a:t>
            </a:r>
          </a:p>
          <a:p>
            <a:pPr>
              <a:buClr>
                <a:srgbClr val="005674"/>
              </a:buClr>
            </a:pPr>
            <a:endParaRPr lang="de-DE" dirty="0"/>
          </a:p>
        </p:txBody>
      </p:sp>
      <p:sp>
        <p:nvSpPr>
          <p:cNvPr id="4" name="AutoShape 6"/>
          <p:cNvSpPr>
            <a:spLocks noChangeArrowheads="1"/>
          </p:cNvSpPr>
          <p:nvPr>
            <p:custDataLst>
              <p:tags r:id="rId3"/>
            </p:custDataLst>
          </p:nvPr>
        </p:nvSpPr>
        <p:spPr bwMode="gray">
          <a:xfrm>
            <a:off x="6264698" y="2800747"/>
            <a:ext cx="3825273" cy="401944"/>
          </a:xfrm>
          <a:prstGeom prst="rect">
            <a:avLst/>
          </a:prstGeom>
          <a:solidFill>
            <a:srgbClr val="006DB6"/>
          </a:solidFill>
          <a:ln w="21590" cap="flat" cmpd="sng" algn="ctr">
            <a:solidFill>
              <a:srgbClr val="0D5893"/>
            </a:solidFill>
            <a:prstDash val="solid"/>
            <a:miter lim="800000"/>
            <a:headEnd type="none" w="med" len="med"/>
            <a:tailEnd type="none" w="med" len="med"/>
          </a:ln>
          <a:effectLst/>
        </p:spPr>
        <p:txBody>
          <a:bodyPr lIns="90000" tIns="46800" rIns="90000" bIns="46800" anchor="ctr"/>
          <a:lstStyle/>
          <a:p>
            <a:pPr algn="ctr">
              <a:buClr>
                <a:schemeClr val="accent2"/>
              </a:buClr>
              <a:buSzPct val="100000"/>
              <a:buFont typeface="Wingdings" pitchFamily="2" charset="2"/>
              <a:buNone/>
            </a:pPr>
            <a:r>
              <a:rPr lang="de-DE" b="1" dirty="0">
                <a:solidFill>
                  <a:schemeClr val="bg1"/>
                </a:solidFill>
              </a:rPr>
              <a:t>Security</a:t>
            </a:r>
          </a:p>
        </p:txBody>
      </p:sp>
      <p:sp>
        <p:nvSpPr>
          <p:cNvPr id="5" name="AutoShape 6"/>
          <p:cNvSpPr>
            <a:spLocks noChangeArrowheads="1"/>
          </p:cNvSpPr>
          <p:nvPr>
            <p:custDataLst>
              <p:tags r:id="rId4"/>
            </p:custDataLst>
          </p:nvPr>
        </p:nvSpPr>
        <p:spPr bwMode="gray">
          <a:xfrm>
            <a:off x="1820757" y="2850605"/>
            <a:ext cx="3827203" cy="369612"/>
          </a:xfrm>
          <a:prstGeom prst="rect">
            <a:avLst/>
          </a:prstGeom>
          <a:solidFill>
            <a:srgbClr val="006DB6"/>
          </a:solidFill>
          <a:ln w="21590" cap="flat" cmpd="sng" algn="ctr">
            <a:solidFill>
              <a:srgbClr val="0D5893"/>
            </a:solidFill>
            <a:prstDash val="solid"/>
            <a:miter lim="800000"/>
            <a:headEnd type="none" w="med" len="med"/>
            <a:tailEnd type="none" w="med" len="med"/>
          </a:ln>
          <a:effectLst/>
        </p:spPr>
        <p:txBody>
          <a:bodyPr lIns="90000" tIns="46800" rIns="90000" bIns="46800" anchor="ctr"/>
          <a:lstStyle/>
          <a:p>
            <a:pPr algn="ctr">
              <a:buClr>
                <a:schemeClr val="accent2"/>
              </a:buClr>
              <a:buSzPct val="100000"/>
              <a:buFont typeface="Wingdings" pitchFamily="2" charset="2"/>
              <a:buNone/>
            </a:pPr>
            <a:r>
              <a:rPr lang="de-DE" b="1" dirty="0">
                <a:solidFill>
                  <a:schemeClr val="bg1"/>
                </a:solidFill>
              </a:rPr>
              <a:t>Safety</a:t>
            </a:r>
          </a:p>
        </p:txBody>
      </p:sp>
      <p:sp>
        <p:nvSpPr>
          <p:cNvPr id="7" name="Rectangle 3"/>
          <p:cNvSpPr txBox="1">
            <a:spLocks noChangeArrowheads="1"/>
          </p:cNvSpPr>
          <p:nvPr>
            <p:custDataLst>
              <p:tags r:id="rId5"/>
            </p:custDataLst>
          </p:nvPr>
        </p:nvSpPr>
        <p:spPr bwMode="auto">
          <a:xfrm>
            <a:off x="6262769" y="3202692"/>
            <a:ext cx="3827203" cy="3057524"/>
          </a:xfrm>
          <a:prstGeom prst="rect">
            <a:avLst/>
          </a:prstGeom>
          <a:solidFill>
            <a:schemeClr val="bg1"/>
          </a:solidFill>
          <a:ln w="21590" cap="flat" cmpd="sng" algn="ctr">
            <a:solidFill>
              <a:srgbClr val="0D5893"/>
            </a:solidFill>
            <a:prstDash val="solid"/>
            <a:miter lim="800000"/>
            <a:headEnd type="none" w="med" len="med"/>
            <a:tailEnd type="none" w="med" len="med"/>
          </a:ln>
          <a:effectLst/>
        </p:spPr>
        <p:txBody>
          <a:bodyPr vert="horz" wrap="square" lIns="360045" tIns="108014" rIns="90011" bIns="46806" numCol="1" anchor="t" anchorCtr="0" compatLnSpc="1">
            <a:prstTxWarp prst="textNoShape">
              <a:avLst/>
            </a:prstTxWarp>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a:buClr>
                <a:srgbClr val="005674"/>
              </a:buClr>
            </a:pPr>
            <a:r>
              <a:rPr lang="de-DE" dirty="0"/>
              <a:t>Angriffssicherheit</a:t>
            </a:r>
          </a:p>
          <a:p>
            <a:pPr>
              <a:buClr>
                <a:srgbClr val="005674"/>
              </a:buClr>
            </a:pPr>
            <a:r>
              <a:rPr lang="de-DE" dirty="0"/>
              <a:t>Schutz des technischen Systems vor der Umgebung</a:t>
            </a:r>
          </a:p>
          <a:p>
            <a:pPr>
              <a:buClr>
                <a:srgbClr val="005674"/>
              </a:buClr>
            </a:pPr>
            <a:endParaRPr lang="de-DE" dirty="0"/>
          </a:p>
        </p:txBody>
      </p:sp>
      <p:grpSp>
        <p:nvGrpSpPr>
          <p:cNvPr id="8" name="Group 28"/>
          <p:cNvGrpSpPr>
            <a:grpSpLocks/>
          </p:cNvGrpSpPr>
          <p:nvPr/>
        </p:nvGrpSpPr>
        <p:grpSpPr bwMode="auto">
          <a:xfrm>
            <a:off x="5389916" y="4548919"/>
            <a:ext cx="1143135" cy="984250"/>
            <a:chOff x="2764" y="1851"/>
            <a:chExt cx="719" cy="620"/>
          </a:xfrm>
        </p:grpSpPr>
        <p:sp>
          <p:nvSpPr>
            <p:cNvPr id="9" name="Arc 13"/>
            <p:cNvSpPr>
              <a:spLocks/>
            </p:cNvSpPr>
            <p:nvPr>
              <p:custDataLst>
                <p:tags r:id="rId7"/>
              </p:custDataLst>
            </p:nvPr>
          </p:nvSpPr>
          <p:spPr bwMode="gray">
            <a:xfrm>
              <a:off x="3114" y="1856"/>
              <a:ext cx="369" cy="615"/>
            </a:xfrm>
            <a:custGeom>
              <a:avLst/>
              <a:gdLst>
                <a:gd name="G0" fmla="+- 0 0 0"/>
                <a:gd name="G1" fmla="+- 18305 0 0"/>
                <a:gd name="G2" fmla="+- 21600 0 0"/>
                <a:gd name="T0" fmla="*/ 11467 w 21600"/>
                <a:gd name="T1" fmla="*/ 0 h 36578"/>
                <a:gd name="T2" fmla="*/ 11517 w 21600"/>
                <a:gd name="T3" fmla="*/ 36578 h 36578"/>
                <a:gd name="T4" fmla="*/ 0 w 21600"/>
                <a:gd name="T5" fmla="*/ 18305 h 36578"/>
              </a:gdLst>
              <a:ahLst/>
              <a:cxnLst>
                <a:cxn ang="0">
                  <a:pos x="T0" y="T1"/>
                </a:cxn>
                <a:cxn ang="0">
                  <a:pos x="T2" y="T3"/>
                </a:cxn>
                <a:cxn ang="0">
                  <a:pos x="T4" y="T5"/>
                </a:cxn>
              </a:cxnLst>
              <a:rect l="0" t="0" r="r" b="b"/>
              <a:pathLst>
                <a:path w="21600" h="36578" fill="none" extrusionOk="0">
                  <a:moveTo>
                    <a:pt x="11466" y="0"/>
                  </a:moveTo>
                  <a:cubicBezTo>
                    <a:pt x="17771" y="3949"/>
                    <a:pt x="21600" y="10865"/>
                    <a:pt x="21600" y="18305"/>
                  </a:cubicBezTo>
                  <a:cubicBezTo>
                    <a:pt x="21600" y="25723"/>
                    <a:pt x="17793" y="32622"/>
                    <a:pt x="11517" y="36578"/>
                  </a:cubicBezTo>
                </a:path>
                <a:path w="21600" h="36578" stroke="0" extrusionOk="0">
                  <a:moveTo>
                    <a:pt x="11466" y="0"/>
                  </a:moveTo>
                  <a:cubicBezTo>
                    <a:pt x="17771" y="3949"/>
                    <a:pt x="21600" y="10865"/>
                    <a:pt x="21600" y="18305"/>
                  </a:cubicBezTo>
                  <a:cubicBezTo>
                    <a:pt x="21600" y="25723"/>
                    <a:pt x="17793" y="32622"/>
                    <a:pt x="11517" y="36578"/>
                  </a:cubicBezTo>
                  <a:lnTo>
                    <a:pt x="0" y="18305"/>
                  </a:lnTo>
                  <a:close/>
                </a:path>
              </a:pathLst>
            </a:custGeom>
            <a:solidFill>
              <a:schemeClr val="bg1"/>
            </a:solidFill>
            <a:ln w="21590" cap="flat" cmpd="sng" algn="ctr">
              <a:solidFill>
                <a:srgbClr val="0D589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Arc 14"/>
            <p:cNvSpPr>
              <a:spLocks/>
            </p:cNvSpPr>
            <p:nvPr>
              <p:custDataLst>
                <p:tags r:id="rId8"/>
              </p:custDataLst>
            </p:nvPr>
          </p:nvSpPr>
          <p:spPr bwMode="gray">
            <a:xfrm rot="10800000">
              <a:off x="2764" y="1851"/>
              <a:ext cx="369" cy="603"/>
            </a:xfrm>
            <a:custGeom>
              <a:avLst/>
              <a:gdLst>
                <a:gd name="G0" fmla="+- 0 0 0"/>
                <a:gd name="G1" fmla="+- 17954 0 0"/>
                <a:gd name="G2" fmla="+- 21600 0 0"/>
                <a:gd name="T0" fmla="*/ 12008 w 21600"/>
                <a:gd name="T1" fmla="*/ 0 h 35964"/>
                <a:gd name="T2" fmla="*/ 11925 w 21600"/>
                <a:gd name="T3" fmla="*/ 35964 h 35964"/>
                <a:gd name="T4" fmla="*/ 0 w 21600"/>
                <a:gd name="T5" fmla="*/ 17954 h 35964"/>
              </a:gdLst>
              <a:ahLst/>
              <a:cxnLst>
                <a:cxn ang="0">
                  <a:pos x="T0" y="T1"/>
                </a:cxn>
                <a:cxn ang="0">
                  <a:pos x="T2" y="T3"/>
                </a:cxn>
                <a:cxn ang="0">
                  <a:pos x="T4" y="T5"/>
                </a:cxn>
              </a:cxnLst>
              <a:rect l="0" t="0" r="r" b="b"/>
              <a:pathLst>
                <a:path w="21600" h="35964" fill="none" extrusionOk="0">
                  <a:moveTo>
                    <a:pt x="12008" y="-1"/>
                  </a:moveTo>
                  <a:cubicBezTo>
                    <a:pt x="18001" y="4008"/>
                    <a:pt x="21600" y="10743"/>
                    <a:pt x="21600" y="17954"/>
                  </a:cubicBezTo>
                  <a:cubicBezTo>
                    <a:pt x="21600" y="25200"/>
                    <a:pt x="17966" y="31963"/>
                    <a:pt x="11924" y="35963"/>
                  </a:cubicBezTo>
                </a:path>
                <a:path w="21600" h="35964" stroke="0" extrusionOk="0">
                  <a:moveTo>
                    <a:pt x="12008" y="-1"/>
                  </a:moveTo>
                  <a:cubicBezTo>
                    <a:pt x="18001" y="4008"/>
                    <a:pt x="21600" y="10743"/>
                    <a:pt x="21600" y="17954"/>
                  </a:cubicBezTo>
                  <a:cubicBezTo>
                    <a:pt x="21600" y="25200"/>
                    <a:pt x="17966" y="31963"/>
                    <a:pt x="11924" y="35963"/>
                  </a:cubicBezTo>
                  <a:lnTo>
                    <a:pt x="0" y="17954"/>
                  </a:lnTo>
                  <a:close/>
                </a:path>
              </a:pathLst>
            </a:custGeom>
            <a:solidFill>
              <a:schemeClr val="bg1"/>
            </a:solidFill>
            <a:ln w="21590" cap="flat" cmpd="sng" algn="ctr">
              <a:solidFill>
                <a:srgbClr val="0D589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1" name="Oval 6"/>
            <p:cNvSpPr>
              <a:spLocks noChangeArrowheads="1"/>
            </p:cNvSpPr>
            <p:nvPr>
              <p:custDataLst>
                <p:tags r:id="rId9"/>
              </p:custDataLst>
            </p:nvPr>
          </p:nvSpPr>
          <p:spPr bwMode="gray">
            <a:xfrm>
              <a:off x="2837" y="1869"/>
              <a:ext cx="567" cy="567"/>
            </a:xfrm>
            <a:prstGeom prst="ellipse">
              <a:avLst/>
            </a:prstGeom>
            <a:solidFill>
              <a:srgbClr val="006DB6"/>
            </a:solidFill>
            <a:ln w="21590" cap="flat" cmpd="sng" algn="ctr">
              <a:solidFill>
                <a:srgbClr val="0D589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tabLst>
                  <a:tab pos="266700" algn="l"/>
                  <a:tab pos="631825" algn="l"/>
                  <a:tab pos="981075" algn="l"/>
                </a:tabLst>
              </a:pPr>
              <a:endParaRPr lang="de-DE"/>
            </a:p>
          </p:txBody>
        </p:sp>
        <p:sp>
          <p:nvSpPr>
            <p:cNvPr id="12" name="AutoShape 15"/>
            <p:cNvSpPr>
              <a:spLocks noChangeArrowheads="1"/>
            </p:cNvSpPr>
            <p:nvPr>
              <p:custDataLst>
                <p:tags r:id="rId10"/>
              </p:custDataLst>
            </p:nvPr>
          </p:nvSpPr>
          <p:spPr bwMode="gray">
            <a:xfrm>
              <a:off x="2928" y="1960"/>
              <a:ext cx="385" cy="385"/>
            </a:xfrm>
            <a:prstGeom prst="plus">
              <a:avLst>
                <a:gd name="adj" fmla="val 36366"/>
              </a:avLst>
            </a:prstGeom>
            <a:solidFill>
              <a:schemeClr val="bg1"/>
            </a:solidFill>
            <a:ln w="21590" cap="flat" cmpd="sng" algn="ctr">
              <a:solidFill>
                <a:srgbClr val="0D5893"/>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grpSp>
      <p:sp>
        <p:nvSpPr>
          <p:cNvPr id="15" name="AutoShape 6"/>
          <p:cNvSpPr>
            <a:spLocks noChangeArrowheads="1"/>
          </p:cNvSpPr>
          <p:nvPr>
            <p:custDataLst>
              <p:tags r:id="rId6"/>
            </p:custDataLst>
          </p:nvPr>
        </p:nvSpPr>
        <p:spPr bwMode="gray">
          <a:xfrm>
            <a:off x="1592157" y="2307167"/>
            <a:ext cx="8766312" cy="436885"/>
          </a:xfrm>
          <a:prstGeom prst="rect">
            <a:avLst/>
          </a:prstGeom>
          <a:solidFill>
            <a:srgbClr val="006DB6"/>
          </a:solidFill>
          <a:ln w="21590" cap="flat" cmpd="sng" algn="ctr">
            <a:solidFill>
              <a:srgbClr val="0D5893"/>
            </a:solidFill>
            <a:prstDash val="solid"/>
            <a:miter lim="800000"/>
            <a:headEnd type="none" w="med" len="med"/>
            <a:tailEnd type="none" w="med" len="med"/>
          </a:ln>
          <a:effectLst/>
        </p:spPr>
        <p:txBody>
          <a:bodyPr lIns="90000" tIns="46800" rIns="90000" bIns="46800" anchor="ctr"/>
          <a:lstStyle/>
          <a:p>
            <a:pPr algn="ctr">
              <a:buClr>
                <a:schemeClr val="accent2"/>
              </a:buClr>
              <a:buSzPct val="100000"/>
              <a:buFont typeface="Wingdings" pitchFamily="2" charset="2"/>
              <a:buNone/>
            </a:pPr>
            <a:r>
              <a:rPr lang="de-DE" b="1" dirty="0">
                <a:solidFill>
                  <a:schemeClr val="bg1"/>
                </a:solidFill>
              </a:rPr>
              <a:t>Sicherheit</a:t>
            </a:r>
          </a:p>
        </p:txBody>
      </p:sp>
      <p:pic>
        <p:nvPicPr>
          <p:cNvPr id="1989634" name="Picture 2" descr="\\FSZEMA14\ZeMA\13_Projekte\IP\MT_IP_6102_AnoKo\B40 Technische Dokumentation\Poster\binary-1538721_1920.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035081" y="4590169"/>
            <a:ext cx="2358056" cy="1572037"/>
          </a:xfrm>
          <a:prstGeom prst="rect">
            <a:avLst/>
          </a:prstGeom>
          <a:noFill/>
          <a:extLst>
            <a:ext uri="{909E8E84-426E-40DD-AFC4-6F175D3DCCD1}">
              <a14:hiddenFill xmlns:a14="http://schemas.microsoft.com/office/drawing/2010/main">
                <a:solidFill>
                  <a:srgbClr val="FFFFFF"/>
                </a:solidFill>
              </a14:hiddenFill>
            </a:ext>
          </a:extLst>
        </p:spPr>
      </p:pic>
      <p:pic>
        <p:nvPicPr>
          <p:cNvPr id="1989640" name="Picture 8" descr="Baustelle, Absperrung, Helm, Sicherheit, Strassensperre"/>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855604" y="4549237"/>
            <a:ext cx="1703359" cy="1703359"/>
          </a:xfrm>
          <a:prstGeom prst="rect">
            <a:avLst/>
          </a:prstGeom>
          <a:noFill/>
          <a:extLst>
            <a:ext uri="{909E8E84-426E-40DD-AFC4-6F175D3DCCD1}">
              <a14:hiddenFill xmlns:a14="http://schemas.microsoft.com/office/drawing/2010/main">
                <a:solidFill>
                  <a:srgbClr val="FFFFFF"/>
                </a:solidFill>
              </a14:hiddenFill>
            </a:ext>
          </a:extLst>
        </p:spPr>
      </p:pic>
      <p:sp>
        <p:nvSpPr>
          <p:cNvPr id="6" name="Fußzeilenplatzhalter 5"/>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16" name="Foliennummernplatzhalter 15"/>
          <p:cNvSpPr>
            <a:spLocks noGrp="1"/>
          </p:cNvSpPr>
          <p:nvPr>
            <p:ph type="sldNum" sz="quarter" idx="16"/>
          </p:nvPr>
        </p:nvSpPr>
        <p:spPr/>
        <p:txBody>
          <a:bodyPr/>
          <a:lstStyle/>
          <a:p>
            <a:fld id="{61F2C2C2-1EE4-4D60-B09F-2141F977BFAA}" type="slidenum">
              <a:rPr lang="de-DE" altLang="de-DE" smtClean="0"/>
              <a:pPr/>
              <a:t>5</a:t>
            </a:fld>
            <a:endParaRPr lang="de-DE" altLang="de-DE"/>
          </a:p>
        </p:txBody>
      </p:sp>
      <p:sp>
        <p:nvSpPr>
          <p:cNvPr id="19" name="Titel 1"/>
          <p:cNvSpPr>
            <a:spLocks noGrp="1"/>
          </p:cNvSpPr>
          <p:nvPr>
            <p:ph type="title"/>
          </p:nvPr>
        </p:nvSpPr>
        <p:spPr>
          <a:xfrm>
            <a:off x="609602" y="452967"/>
            <a:ext cx="8621183" cy="483296"/>
          </a:xfrm>
        </p:spPr>
        <p:txBody>
          <a:bodyPr>
            <a:normAutofit fontScale="90000"/>
          </a:bodyPr>
          <a:lstStyle/>
          <a:p>
            <a:r>
              <a:rPr lang="de-DE" dirty="0"/>
              <a:t>Sicherheit von Produktionssystemen</a:t>
            </a:r>
          </a:p>
        </p:txBody>
      </p:sp>
      <p:sp>
        <p:nvSpPr>
          <p:cNvPr id="2" name="Inhaltsplatzhalter 1">
            <a:extLst>
              <a:ext uri="{FF2B5EF4-FFF2-40B4-BE49-F238E27FC236}">
                <a16:creationId xmlns:a16="http://schemas.microsoft.com/office/drawing/2014/main" id="{9642CF1F-C3DB-3524-CBDA-1DE6F9683A32}"/>
              </a:ext>
            </a:extLst>
          </p:cNvPr>
          <p:cNvSpPr>
            <a:spLocks noGrp="1"/>
          </p:cNvSpPr>
          <p:nvPr>
            <p:ph idx="1"/>
          </p:nvPr>
        </p:nvSpPr>
        <p:spPr>
          <a:xfrm>
            <a:off x="456118" y="1035089"/>
            <a:ext cx="11613302" cy="1189991"/>
          </a:xfrm>
        </p:spPr>
        <p:txBody>
          <a:bodyPr/>
          <a:lstStyle/>
          <a:p>
            <a:r>
              <a:rPr lang="de-CH" sz="1800" dirty="0">
                <a:effectLst/>
                <a:latin typeface="Arial" panose="020B0604020202020204" pitchFamily="34" charset="0"/>
                <a:ea typeface="Arial" panose="020B0604020202020204" pitchFamily="34" charset="0"/>
                <a:cs typeface="Times New Roman" panose="02020603050405020304" pitchFamily="18" charset="0"/>
              </a:rPr>
              <a:t>Die </a:t>
            </a:r>
            <a:r>
              <a:rPr lang="de-CH" sz="1800" i="1" dirty="0">
                <a:effectLst/>
                <a:latin typeface="Arial" panose="020B0604020202020204" pitchFamily="34" charset="0"/>
                <a:ea typeface="Arial" panose="020B0604020202020204" pitchFamily="34" charset="0"/>
                <a:cs typeface="Times New Roman" panose="02020603050405020304" pitchFamily="18" charset="0"/>
              </a:rPr>
              <a:t>Sicherheit </a:t>
            </a:r>
            <a:r>
              <a:rPr lang="de-CH" sz="1800" dirty="0">
                <a:effectLst/>
                <a:latin typeface="Arial" panose="020B0604020202020204" pitchFamily="34" charset="0"/>
                <a:ea typeface="Arial" panose="020B0604020202020204" pitchFamily="34" charset="0"/>
                <a:cs typeface="Times New Roman" panose="02020603050405020304" pitchFamily="18" charset="0"/>
              </a:rPr>
              <a:t>stellt die Grenze zwischen einem vertretbaren und einem unvertretbaren Risiko dar. </a:t>
            </a:r>
          </a:p>
          <a:p>
            <a:r>
              <a:rPr lang="de-CH" sz="1800" dirty="0">
                <a:effectLst/>
                <a:latin typeface="Arial" panose="020B0604020202020204" pitchFamily="34" charset="0"/>
                <a:ea typeface="Arial" panose="020B0604020202020204" pitchFamily="34" charset="0"/>
                <a:cs typeface="Times New Roman" panose="02020603050405020304" pitchFamily="18" charset="0"/>
              </a:rPr>
              <a:t>Hierbei umfasst der Begriff </a:t>
            </a:r>
            <a:r>
              <a:rPr lang="de-CH" sz="1800" i="1" dirty="0">
                <a:effectLst/>
                <a:latin typeface="Arial" panose="020B0604020202020204" pitchFamily="34" charset="0"/>
                <a:ea typeface="Arial" panose="020B0604020202020204" pitchFamily="34" charset="0"/>
                <a:cs typeface="Times New Roman" panose="02020603050405020304" pitchFamily="18" charset="0"/>
              </a:rPr>
              <a:t>Sicherheit </a:t>
            </a:r>
            <a:r>
              <a:rPr lang="de-CH" sz="1800" dirty="0">
                <a:effectLst/>
                <a:latin typeface="Arial" panose="020B0604020202020204" pitchFamily="34" charset="0"/>
                <a:ea typeface="Arial" panose="020B0604020202020204" pitchFamily="34" charset="0"/>
                <a:cs typeface="Times New Roman" panose="02020603050405020304" pitchFamily="18" charset="0"/>
              </a:rPr>
              <a:t>den Lösungsraum aller vertretbaren Risiken und wird in der Folge als Lösungsraum aller im Rahmen der Risikoanalyse als vertretbar beurteilten Gefährdungsszenarien definiert.</a:t>
            </a:r>
          </a:p>
          <a:p>
            <a:endParaRPr lang="de-CH" dirty="0"/>
          </a:p>
        </p:txBody>
      </p:sp>
    </p:spTree>
    <p:extLst>
      <p:ext uri="{BB962C8B-B14F-4D97-AF65-F5344CB8AC3E}">
        <p14:creationId xmlns:p14="http://schemas.microsoft.com/office/powerpoint/2010/main" val="10808440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896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896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4" grpId="0" animBg="1"/>
      <p:bldP spid="5" grpId="0" animBg="1"/>
      <p:bldP spid="7" grpId="0" animBg="1"/>
      <p:bldP spid="1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A7AB340-1716-18FD-A714-9446FACBD15B}"/>
              </a:ext>
            </a:extLst>
          </p:cNvPr>
          <p:cNvSpPr>
            <a:spLocks noGrp="1"/>
          </p:cNvSpPr>
          <p:nvPr>
            <p:ph type="title"/>
          </p:nvPr>
        </p:nvSpPr>
        <p:spPr/>
        <p:txBody>
          <a:bodyPr>
            <a:normAutofit fontScale="90000"/>
          </a:bodyPr>
          <a:lstStyle/>
          <a:p>
            <a:r>
              <a:rPr lang="de-CH" dirty="0"/>
              <a:t>TS ISO 15066: </a:t>
            </a:r>
            <a:r>
              <a:rPr lang="de-CH" dirty="0" err="1"/>
              <a:t>Biomechanical</a:t>
            </a:r>
            <a:r>
              <a:rPr lang="de-CH" dirty="0"/>
              <a:t> </a:t>
            </a:r>
            <a:r>
              <a:rPr lang="de-CH" dirty="0" err="1"/>
              <a:t>limits</a:t>
            </a:r>
            <a:endParaRPr lang="de-CH" dirty="0"/>
          </a:p>
        </p:txBody>
      </p:sp>
      <p:sp>
        <p:nvSpPr>
          <p:cNvPr id="4" name="Fußzeilenplatzhalter 3">
            <a:extLst>
              <a:ext uri="{FF2B5EF4-FFF2-40B4-BE49-F238E27FC236}">
                <a16:creationId xmlns:a16="http://schemas.microsoft.com/office/drawing/2014/main" id="{D63FD0E8-A06E-9EA1-4BDA-93C7651EE8A5}"/>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475A1646-DA49-5082-C7EB-AD6AF294A293}"/>
              </a:ext>
            </a:extLst>
          </p:cNvPr>
          <p:cNvSpPr>
            <a:spLocks noGrp="1"/>
          </p:cNvSpPr>
          <p:nvPr>
            <p:ph type="sldNum" sz="quarter" idx="16"/>
          </p:nvPr>
        </p:nvSpPr>
        <p:spPr/>
        <p:txBody>
          <a:bodyPr/>
          <a:lstStyle/>
          <a:p>
            <a:fld id="{61F2C2C2-1EE4-4D60-B09F-2141F977BFAA}" type="slidenum">
              <a:rPr lang="de-DE" altLang="de-DE" smtClean="0"/>
              <a:pPr/>
              <a:t>50</a:t>
            </a:fld>
            <a:endParaRPr lang="de-DE" altLang="de-DE"/>
          </a:p>
        </p:txBody>
      </p:sp>
      <p:pic>
        <p:nvPicPr>
          <p:cNvPr id="8" name="Grafik 7">
            <a:extLst>
              <a:ext uri="{FF2B5EF4-FFF2-40B4-BE49-F238E27FC236}">
                <a16:creationId xmlns:a16="http://schemas.microsoft.com/office/drawing/2014/main" id="{BA65DBEA-E883-53DB-8EC3-82B538384AB8}"/>
              </a:ext>
            </a:extLst>
          </p:cNvPr>
          <p:cNvPicPr>
            <a:picLocks noChangeAspect="1"/>
          </p:cNvPicPr>
          <p:nvPr/>
        </p:nvPicPr>
        <p:blipFill>
          <a:blip r:embed="rId2"/>
          <a:stretch>
            <a:fillRect/>
          </a:stretch>
        </p:blipFill>
        <p:spPr>
          <a:xfrm>
            <a:off x="2204267" y="1100976"/>
            <a:ext cx="7443501" cy="5360337"/>
          </a:xfrm>
          <a:prstGeom prst="rect">
            <a:avLst/>
          </a:prstGeom>
        </p:spPr>
      </p:pic>
    </p:spTree>
    <p:extLst>
      <p:ext uri="{BB962C8B-B14F-4D97-AF65-F5344CB8AC3E}">
        <p14:creationId xmlns:p14="http://schemas.microsoft.com/office/powerpoint/2010/main" val="292532778"/>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esstechnik für kollaborierende Roboter von GTE klein">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322346" y="1301799"/>
            <a:ext cx="1366989" cy="768932"/>
          </a:xfrm>
          <a:prstGeom prst="rect">
            <a:avLst/>
          </a:prstGeom>
        </p:spPr>
      </p:pic>
      <p:sp>
        <p:nvSpPr>
          <p:cNvPr id="2" name="Titel 1"/>
          <p:cNvSpPr>
            <a:spLocks noGrp="1"/>
          </p:cNvSpPr>
          <p:nvPr>
            <p:ph type="title"/>
          </p:nvPr>
        </p:nvSpPr>
        <p:spPr>
          <a:xfrm>
            <a:off x="624418" y="176328"/>
            <a:ext cx="10996082" cy="759936"/>
          </a:xfrm>
        </p:spPr>
        <p:txBody>
          <a:bodyPr>
            <a:noAutofit/>
          </a:bodyPr>
          <a:lstStyle/>
          <a:p>
            <a:pPr>
              <a:lnSpc>
                <a:spcPct val="100000"/>
              </a:lnSpc>
            </a:pPr>
            <a:r>
              <a:rPr lang="de-DE" dirty="0"/>
              <a:t>Messtechnik für Kraft- und Druckwerte bei kollaborierenden Robotern</a:t>
            </a:r>
          </a:p>
        </p:txBody>
      </p:sp>
      <p:sp>
        <p:nvSpPr>
          <p:cNvPr id="4" name="Fußzeilenplatzhalter 3"/>
          <p:cNvSpPr>
            <a:spLocks noGrp="1"/>
          </p:cNvSpPr>
          <p:nvPr>
            <p:ph type="ftr" sz="quarter" idx="15"/>
          </p:nvPr>
        </p:nvSpPr>
        <p:spPr/>
        <p:txBody>
          <a:bodyPr/>
          <a:lstStyle/>
          <a:p>
            <a:pPr defTabSz="582069"/>
            <a:r>
              <a:rPr lang="de-DE"/>
              <a:t>Automation II</a:t>
            </a:r>
            <a:endParaRPr lang="de-DE" dirty="0"/>
          </a:p>
        </p:txBody>
      </p:sp>
      <p:sp>
        <p:nvSpPr>
          <p:cNvPr id="6" name="Foliennummernplatzhalter 5"/>
          <p:cNvSpPr>
            <a:spLocks noGrp="1"/>
          </p:cNvSpPr>
          <p:nvPr>
            <p:ph type="sldNum" sz="quarter" idx="16"/>
          </p:nvPr>
        </p:nvSpPr>
        <p:spPr/>
        <p:txBody>
          <a:bodyPr/>
          <a:lstStyle/>
          <a:p>
            <a:fld id="{1E6235D0-FF99-C045-995D-75C61122D1C1}" type="slidenum">
              <a:rPr lang="de-DE" smtClean="0"/>
              <a:pPr/>
              <a:t>51</a:t>
            </a:fld>
            <a:endParaRPr lang="de-DE" dirty="0"/>
          </a:p>
        </p:txBody>
      </p:sp>
      <p:grpSp>
        <p:nvGrpSpPr>
          <p:cNvPr id="7" name="Gruppieren 6"/>
          <p:cNvGrpSpPr>
            <a:grpSpLocks/>
          </p:cNvGrpSpPr>
          <p:nvPr/>
        </p:nvGrpSpPr>
        <p:grpSpPr>
          <a:xfrm>
            <a:off x="388665" y="1100055"/>
            <a:ext cx="19408137" cy="5669913"/>
            <a:chOff x="151619" y="1088836"/>
            <a:chExt cx="17124825" cy="5002864"/>
          </a:xfrm>
        </p:grpSpPr>
        <p:pic>
          <p:nvPicPr>
            <p:cNvPr id="26" name="Grafik 2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90218" y="3997797"/>
              <a:ext cx="2382847" cy="1492626"/>
            </a:xfrm>
            <a:prstGeom prst="rect">
              <a:avLst/>
            </a:prstGeom>
          </p:spPr>
        </p:pic>
        <p:pic>
          <p:nvPicPr>
            <p:cNvPr id="27" name="Grafik 26"/>
            <p:cNvPicPr>
              <a:picLocks noChangeAspect="1"/>
            </p:cNvPicPr>
            <p:nvPr/>
          </p:nvPicPr>
          <p:blipFill>
            <a:blip r:embed="rId7"/>
            <a:stretch>
              <a:fillRect/>
            </a:stretch>
          </p:blipFill>
          <p:spPr>
            <a:xfrm>
              <a:off x="383595" y="1249474"/>
              <a:ext cx="3306623" cy="1676403"/>
            </a:xfrm>
            <a:prstGeom prst="rect">
              <a:avLst/>
            </a:prstGeom>
          </p:spPr>
        </p:pic>
        <p:pic>
          <p:nvPicPr>
            <p:cNvPr id="28" name="Grafik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385083" y="1618632"/>
              <a:ext cx="2298667" cy="2379165"/>
            </a:xfrm>
            <a:prstGeom prst="rect">
              <a:avLst/>
            </a:prstGeom>
          </p:spPr>
        </p:pic>
        <p:sp>
          <p:nvSpPr>
            <p:cNvPr id="29" name="Rechteck 28"/>
            <p:cNvSpPr/>
            <p:nvPr/>
          </p:nvSpPr>
          <p:spPr bwMode="auto">
            <a:xfrm rot="19587733">
              <a:off x="7247889" y="3080286"/>
              <a:ext cx="769434" cy="1277284"/>
            </a:xfrm>
            <a:prstGeom prst="rect">
              <a:avLst/>
            </a:prstGeom>
            <a:solidFill>
              <a:schemeClr val="bg1"/>
            </a:solidFill>
            <a:ln w="9176" cap="flat" cmpd="sng" algn="ctr">
              <a:solidFill>
                <a:schemeClr val="bg1"/>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a:latin typeface="Arial" charset="0"/>
              </a:endParaRPr>
            </a:p>
          </p:txBody>
        </p:sp>
        <p:pic>
          <p:nvPicPr>
            <p:cNvPr id="30" name="Grafik 29"/>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6669185" y="3704265"/>
              <a:ext cx="1328244" cy="1831548"/>
            </a:xfrm>
            <a:prstGeom prst="rect">
              <a:avLst/>
            </a:prstGeom>
          </p:spPr>
        </p:pic>
        <p:pic>
          <p:nvPicPr>
            <p:cNvPr id="31" name="Grafik 3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1619" y="3439252"/>
              <a:ext cx="1683477" cy="1783007"/>
            </a:xfrm>
            <a:prstGeom prst="rect">
              <a:avLst/>
            </a:prstGeom>
          </p:spPr>
        </p:pic>
        <p:pic>
          <p:nvPicPr>
            <p:cNvPr id="32" name="Grafik 31"/>
            <p:cNvPicPr>
              <a:picLocks noChangeAspect="1"/>
            </p:cNvPicPr>
            <p:nvPr/>
          </p:nvPicPr>
          <p:blipFill>
            <a:blip r:embed="rId11"/>
            <a:stretch>
              <a:fillRect/>
            </a:stretch>
          </p:blipFill>
          <p:spPr>
            <a:xfrm>
              <a:off x="1679805" y="4058395"/>
              <a:ext cx="1454865" cy="1114546"/>
            </a:xfrm>
            <a:prstGeom prst="rect">
              <a:avLst/>
            </a:prstGeom>
          </p:spPr>
        </p:pic>
        <p:sp>
          <p:nvSpPr>
            <p:cNvPr id="33" name="Freeform 449">
              <a:hlinkClick r:id="rId12" action="ppaction://hlinkfile"/>
            </p:cNvPr>
            <p:cNvSpPr>
              <a:spLocks noEditPoints="1"/>
            </p:cNvSpPr>
            <p:nvPr/>
          </p:nvSpPr>
          <p:spPr bwMode="auto">
            <a:xfrm>
              <a:off x="880690" y="1780336"/>
              <a:ext cx="225337" cy="287577"/>
            </a:xfrm>
            <a:custGeom>
              <a:avLst/>
              <a:gdLst>
                <a:gd name="T0" fmla="*/ 0 w 484"/>
                <a:gd name="T1" fmla="*/ 30 h 564"/>
                <a:gd name="T2" fmla="*/ 30 w 484"/>
                <a:gd name="T3" fmla="*/ 0 h 564"/>
                <a:gd name="T4" fmla="*/ 340 w 484"/>
                <a:gd name="T5" fmla="*/ 6 h 564"/>
                <a:gd name="T6" fmla="*/ 462 w 484"/>
                <a:gd name="T7" fmla="*/ 119 h 564"/>
                <a:gd name="T8" fmla="*/ 484 w 484"/>
                <a:gd name="T9" fmla="*/ 171 h 564"/>
                <a:gd name="T10" fmla="*/ 475 w 484"/>
                <a:gd name="T11" fmla="*/ 555 h 564"/>
                <a:gd name="T12" fmla="*/ 30 w 484"/>
                <a:gd name="T13" fmla="*/ 564 h 564"/>
                <a:gd name="T14" fmla="*/ 0 w 484"/>
                <a:gd name="T15" fmla="*/ 534 h 564"/>
                <a:gd name="T16" fmla="*/ 443 w 484"/>
                <a:gd name="T17" fmla="*/ 524 h 564"/>
                <a:gd name="T18" fmla="*/ 312 w 484"/>
                <a:gd name="T19" fmla="*/ 201 h 564"/>
                <a:gd name="T20" fmla="*/ 282 w 484"/>
                <a:gd name="T21" fmla="*/ 171 h 564"/>
                <a:gd name="T22" fmla="*/ 40 w 484"/>
                <a:gd name="T23" fmla="*/ 40 h 564"/>
                <a:gd name="T24" fmla="*/ 81 w 484"/>
                <a:gd name="T25" fmla="*/ 465 h 564"/>
                <a:gd name="T26" fmla="*/ 140 w 484"/>
                <a:gd name="T27" fmla="*/ 405 h 564"/>
                <a:gd name="T28" fmla="*/ 148 w 484"/>
                <a:gd name="T29" fmla="*/ 408 h 564"/>
                <a:gd name="T30" fmla="*/ 214 w 484"/>
                <a:gd name="T31" fmla="*/ 264 h 564"/>
                <a:gd name="T32" fmla="*/ 207 w 484"/>
                <a:gd name="T33" fmla="*/ 174 h 564"/>
                <a:gd name="T34" fmla="*/ 227 w 484"/>
                <a:gd name="T35" fmla="*/ 161 h 564"/>
                <a:gd name="T36" fmla="*/ 238 w 484"/>
                <a:gd name="T37" fmla="*/ 166 h 564"/>
                <a:gd name="T38" fmla="*/ 240 w 484"/>
                <a:gd name="T39" fmla="*/ 190 h 564"/>
                <a:gd name="T40" fmla="*/ 240 w 484"/>
                <a:gd name="T41" fmla="*/ 202 h 564"/>
                <a:gd name="T42" fmla="*/ 281 w 484"/>
                <a:gd name="T43" fmla="*/ 337 h 564"/>
                <a:gd name="T44" fmla="*/ 345 w 484"/>
                <a:gd name="T45" fmla="*/ 352 h 564"/>
                <a:gd name="T46" fmla="*/ 401 w 484"/>
                <a:gd name="T47" fmla="*/ 384 h 564"/>
                <a:gd name="T48" fmla="*/ 400 w 484"/>
                <a:gd name="T49" fmla="*/ 385 h 564"/>
                <a:gd name="T50" fmla="*/ 378 w 484"/>
                <a:gd name="T51" fmla="*/ 398 h 564"/>
                <a:gd name="T52" fmla="*/ 301 w 484"/>
                <a:gd name="T53" fmla="*/ 375 h 564"/>
                <a:gd name="T54" fmla="*/ 101 w 484"/>
                <a:gd name="T55" fmla="*/ 483 h 564"/>
                <a:gd name="T56" fmla="*/ 85 w 484"/>
                <a:gd name="T57" fmla="*/ 477 h 564"/>
                <a:gd name="T58" fmla="*/ 81 w 484"/>
                <a:gd name="T59" fmla="*/ 465 h 564"/>
                <a:gd name="T60" fmla="*/ 143 w 484"/>
                <a:gd name="T61" fmla="*/ 417 h 564"/>
                <a:gd name="T62" fmla="*/ 100 w 484"/>
                <a:gd name="T63" fmla="*/ 466 h 564"/>
                <a:gd name="T64" fmla="*/ 276 w 484"/>
                <a:gd name="T65" fmla="*/ 359 h 564"/>
                <a:gd name="T66" fmla="*/ 267 w 484"/>
                <a:gd name="T67" fmla="*/ 352 h 564"/>
                <a:gd name="T68" fmla="*/ 200 w 484"/>
                <a:gd name="T69" fmla="*/ 359 h 564"/>
                <a:gd name="T70" fmla="*/ 225 w 484"/>
                <a:gd name="T71" fmla="*/ 218 h 564"/>
                <a:gd name="T72" fmla="*/ 229 w 484"/>
                <a:gd name="T73" fmla="*/ 191 h 564"/>
                <a:gd name="T74" fmla="*/ 230 w 484"/>
                <a:gd name="T75" fmla="*/ 188 h 564"/>
                <a:gd name="T76" fmla="*/ 230 w 484"/>
                <a:gd name="T77" fmla="*/ 187 h 564"/>
                <a:gd name="T78" fmla="*/ 225 w 484"/>
                <a:gd name="T79" fmla="*/ 176 h 564"/>
                <a:gd name="T80" fmla="*/ 225 w 484"/>
                <a:gd name="T81" fmla="*/ 218 h 564"/>
                <a:gd name="T82" fmla="*/ 441 w 484"/>
                <a:gd name="T83" fmla="*/ 161 h 564"/>
                <a:gd name="T84" fmla="*/ 335 w 484"/>
                <a:gd name="T85" fmla="*/ 49 h 564"/>
                <a:gd name="T86" fmla="*/ 322 w 484"/>
                <a:gd name="T87" fmla="*/ 161 h 564"/>
                <a:gd name="T88" fmla="*/ 385 w 484"/>
                <a:gd name="T89" fmla="*/ 381 h 564"/>
                <a:gd name="T90" fmla="*/ 390 w 484"/>
                <a:gd name="T91" fmla="*/ 38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564">
                  <a:moveTo>
                    <a:pt x="0" y="534"/>
                  </a:moveTo>
                  <a:lnTo>
                    <a:pt x="0" y="30"/>
                  </a:lnTo>
                  <a:cubicBezTo>
                    <a:pt x="0" y="21"/>
                    <a:pt x="3" y="14"/>
                    <a:pt x="9" y="8"/>
                  </a:cubicBezTo>
                  <a:cubicBezTo>
                    <a:pt x="15" y="3"/>
                    <a:pt x="22" y="0"/>
                    <a:pt x="30" y="0"/>
                  </a:cubicBezTo>
                  <a:lnTo>
                    <a:pt x="312" y="0"/>
                  </a:lnTo>
                  <a:cubicBezTo>
                    <a:pt x="321" y="0"/>
                    <a:pt x="330" y="2"/>
                    <a:pt x="340" y="6"/>
                  </a:cubicBezTo>
                  <a:cubicBezTo>
                    <a:pt x="350" y="10"/>
                    <a:pt x="358" y="15"/>
                    <a:pt x="364" y="21"/>
                  </a:cubicBezTo>
                  <a:lnTo>
                    <a:pt x="462" y="119"/>
                  </a:lnTo>
                  <a:cubicBezTo>
                    <a:pt x="468" y="125"/>
                    <a:pt x="473" y="133"/>
                    <a:pt x="477" y="143"/>
                  </a:cubicBezTo>
                  <a:cubicBezTo>
                    <a:pt x="482" y="153"/>
                    <a:pt x="484" y="163"/>
                    <a:pt x="484" y="171"/>
                  </a:cubicBezTo>
                  <a:lnTo>
                    <a:pt x="484" y="534"/>
                  </a:lnTo>
                  <a:cubicBezTo>
                    <a:pt x="484" y="542"/>
                    <a:pt x="481" y="549"/>
                    <a:pt x="475" y="555"/>
                  </a:cubicBezTo>
                  <a:cubicBezTo>
                    <a:pt x="469" y="561"/>
                    <a:pt x="462" y="564"/>
                    <a:pt x="453" y="564"/>
                  </a:cubicBezTo>
                  <a:lnTo>
                    <a:pt x="30" y="564"/>
                  </a:lnTo>
                  <a:cubicBezTo>
                    <a:pt x="22" y="564"/>
                    <a:pt x="15" y="561"/>
                    <a:pt x="9" y="555"/>
                  </a:cubicBezTo>
                  <a:cubicBezTo>
                    <a:pt x="3" y="549"/>
                    <a:pt x="0" y="542"/>
                    <a:pt x="0" y="534"/>
                  </a:cubicBezTo>
                  <a:close/>
                  <a:moveTo>
                    <a:pt x="40" y="524"/>
                  </a:moveTo>
                  <a:lnTo>
                    <a:pt x="443" y="524"/>
                  </a:lnTo>
                  <a:lnTo>
                    <a:pt x="443" y="201"/>
                  </a:lnTo>
                  <a:lnTo>
                    <a:pt x="312" y="201"/>
                  </a:lnTo>
                  <a:cubicBezTo>
                    <a:pt x="304" y="201"/>
                    <a:pt x="297" y="198"/>
                    <a:pt x="291" y="192"/>
                  </a:cubicBezTo>
                  <a:cubicBezTo>
                    <a:pt x="285" y="187"/>
                    <a:pt x="282" y="179"/>
                    <a:pt x="282" y="171"/>
                  </a:cubicBezTo>
                  <a:lnTo>
                    <a:pt x="282" y="40"/>
                  </a:lnTo>
                  <a:lnTo>
                    <a:pt x="40" y="40"/>
                  </a:lnTo>
                  <a:lnTo>
                    <a:pt x="40" y="524"/>
                  </a:lnTo>
                  <a:close/>
                  <a:moveTo>
                    <a:pt x="81" y="465"/>
                  </a:moveTo>
                  <a:cubicBezTo>
                    <a:pt x="83" y="456"/>
                    <a:pt x="89" y="447"/>
                    <a:pt x="98" y="436"/>
                  </a:cubicBezTo>
                  <a:cubicBezTo>
                    <a:pt x="108" y="425"/>
                    <a:pt x="122" y="415"/>
                    <a:pt x="140" y="405"/>
                  </a:cubicBezTo>
                  <a:cubicBezTo>
                    <a:pt x="143" y="403"/>
                    <a:pt x="145" y="404"/>
                    <a:pt x="147" y="407"/>
                  </a:cubicBezTo>
                  <a:cubicBezTo>
                    <a:pt x="148" y="408"/>
                    <a:pt x="148" y="408"/>
                    <a:pt x="148" y="408"/>
                  </a:cubicBezTo>
                  <a:cubicBezTo>
                    <a:pt x="159" y="391"/>
                    <a:pt x="170" y="370"/>
                    <a:pt x="182" y="346"/>
                  </a:cubicBezTo>
                  <a:cubicBezTo>
                    <a:pt x="196" y="318"/>
                    <a:pt x="207" y="290"/>
                    <a:pt x="214" y="264"/>
                  </a:cubicBezTo>
                  <a:cubicBezTo>
                    <a:pt x="209" y="247"/>
                    <a:pt x="206" y="230"/>
                    <a:pt x="205" y="214"/>
                  </a:cubicBezTo>
                  <a:cubicBezTo>
                    <a:pt x="203" y="197"/>
                    <a:pt x="204" y="184"/>
                    <a:pt x="207" y="174"/>
                  </a:cubicBezTo>
                  <a:cubicBezTo>
                    <a:pt x="209" y="165"/>
                    <a:pt x="213" y="161"/>
                    <a:pt x="220" y="161"/>
                  </a:cubicBezTo>
                  <a:lnTo>
                    <a:pt x="227" y="161"/>
                  </a:lnTo>
                  <a:lnTo>
                    <a:pt x="227" y="161"/>
                  </a:lnTo>
                  <a:cubicBezTo>
                    <a:pt x="232" y="161"/>
                    <a:pt x="235" y="162"/>
                    <a:pt x="238" y="166"/>
                  </a:cubicBezTo>
                  <a:cubicBezTo>
                    <a:pt x="242" y="170"/>
                    <a:pt x="243" y="177"/>
                    <a:pt x="241" y="187"/>
                  </a:cubicBezTo>
                  <a:cubicBezTo>
                    <a:pt x="240" y="188"/>
                    <a:pt x="240" y="189"/>
                    <a:pt x="240" y="190"/>
                  </a:cubicBezTo>
                  <a:cubicBezTo>
                    <a:pt x="240" y="190"/>
                    <a:pt x="240" y="191"/>
                    <a:pt x="240" y="192"/>
                  </a:cubicBezTo>
                  <a:lnTo>
                    <a:pt x="240" y="202"/>
                  </a:lnTo>
                  <a:cubicBezTo>
                    <a:pt x="239" y="227"/>
                    <a:pt x="238" y="248"/>
                    <a:pt x="235" y="262"/>
                  </a:cubicBezTo>
                  <a:cubicBezTo>
                    <a:pt x="247" y="296"/>
                    <a:pt x="262" y="321"/>
                    <a:pt x="281" y="337"/>
                  </a:cubicBezTo>
                  <a:cubicBezTo>
                    <a:pt x="288" y="342"/>
                    <a:pt x="297" y="348"/>
                    <a:pt x="308" y="355"/>
                  </a:cubicBezTo>
                  <a:cubicBezTo>
                    <a:pt x="320" y="353"/>
                    <a:pt x="333" y="352"/>
                    <a:pt x="345" y="352"/>
                  </a:cubicBezTo>
                  <a:cubicBezTo>
                    <a:pt x="376" y="352"/>
                    <a:pt x="394" y="358"/>
                    <a:pt x="400" y="368"/>
                  </a:cubicBezTo>
                  <a:cubicBezTo>
                    <a:pt x="404" y="372"/>
                    <a:pt x="404" y="378"/>
                    <a:pt x="401" y="384"/>
                  </a:cubicBezTo>
                  <a:cubicBezTo>
                    <a:pt x="401" y="384"/>
                    <a:pt x="401" y="385"/>
                    <a:pt x="401" y="385"/>
                  </a:cubicBezTo>
                  <a:lnTo>
                    <a:pt x="400" y="385"/>
                  </a:lnTo>
                  <a:lnTo>
                    <a:pt x="400" y="386"/>
                  </a:lnTo>
                  <a:cubicBezTo>
                    <a:pt x="399" y="394"/>
                    <a:pt x="391" y="398"/>
                    <a:pt x="378" y="398"/>
                  </a:cubicBezTo>
                  <a:cubicBezTo>
                    <a:pt x="368" y="398"/>
                    <a:pt x="356" y="396"/>
                    <a:pt x="342" y="391"/>
                  </a:cubicBezTo>
                  <a:cubicBezTo>
                    <a:pt x="328" y="387"/>
                    <a:pt x="314" y="382"/>
                    <a:pt x="301" y="375"/>
                  </a:cubicBezTo>
                  <a:cubicBezTo>
                    <a:pt x="254" y="380"/>
                    <a:pt x="213" y="389"/>
                    <a:pt x="177" y="401"/>
                  </a:cubicBezTo>
                  <a:cubicBezTo>
                    <a:pt x="145" y="456"/>
                    <a:pt x="120" y="483"/>
                    <a:pt x="101" y="483"/>
                  </a:cubicBezTo>
                  <a:cubicBezTo>
                    <a:pt x="98" y="483"/>
                    <a:pt x="95" y="483"/>
                    <a:pt x="92" y="481"/>
                  </a:cubicBezTo>
                  <a:lnTo>
                    <a:pt x="85" y="477"/>
                  </a:lnTo>
                  <a:cubicBezTo>
                    <a:pt x="84" y="477"/>
                    <a:pt x="84" y="477"/>
                    <a:pt x="83" y="476"/>
                  </a:cubicBezTo>
                  <a:cubicBezTo>
                    <a:pt x="81" y="474"/>
                    <a:pt x="80" y="470"/>
                    <a:pt x="81" y="465"/>
                  </a:cubicBezTo>
                  <a:close/>
                  <a:moveTo>
                    <a:pt x="100" y="466"/>
                  </a:moveTo>
                  <a:cubicBezTo>
                    <a:pt x="111" y="461"/>
                    <a:pt x="125" y="445"/>
                    <a:pt x="143" y="417"/>
                  </a:cubicBezTo>
                  <a:cubicBezTo>
                    <a:pt x="132" y="425"/>
                    <a:pt x="123" y="434"/>
                    <a:pt x="116" y="443"/>
                  </a:cubicBezTo>
                  <a:cubicBezTo>
                    <a:pt x="108" y="452"/>
                    <a:pt x="103" y="460"/>
                    <a:pt x="100" y="466"/>
                  </a:cubicBezTo>
                  <a:close/>
                  <a:moveTo>
                    <a:pt x="186" y="385"/>
                  </a:moveTo>
                  <a:cubicBezTo>
                    <a:pt x="215" y="374"/>
                    <a:pt x="244" y="365"/>
                    <a:pt x="276" y="359"/>
                  </a:cubicBezTo>
                  <a:cubicBezTo>
                    <a:pt x="275" y="359"/>
                    <a:pt x="274" y="358"/>
                    <a:pt x="272" y="356"/>
                  </a:cubicBezTo>
                  <a:cubicBezTo>
                    <a:pt x="269" y="355"/>
                    <a:pt x="268" y="353"/>
                    <a:pt x="267" y="352"/>
                  </a:cubicBezTo>
                  <a:cubicBezTo>
                    <a:pt x="251" y="338"/>
                    <a:pt x="237" y="320"/>
                    <a:pt x="227" y="297"/>
                  </a:cubicBezTo>
                  <a:cubicBezTo>
                    <a:pt x="221" y="315"/>
                    <a:pt x="212" y="335"/>
                    <a:pt x="200" y="359"/>
                  </a:cubicBezTo>
                  <a:cubicBezTo>
                    <a:pt x="194" y="370"/>
                    <a:pt x="189" y="379"/>
                    <a:pt x="186" y="385"/>
                  </a:cubicBezTo>
                  <a:close/>
                  <a:moveTo>
                    <a:pt x="225" y="218"/>
                  </a:moveTo>
                  <a:cubicBezTo>
                    <a:pt x="225" y="217"/>
                    <a:pt x="226" y="212"/>
                    <a:pt x="227" y="204"/>
                  </a:cubicBezTo>
                  <a:cubicBezTo>
                    <a:pt x="227" y="204"/>
                    <a:pt x="228" y="199"/>
                    <a:pt x="229" y="191"/>
                  </a:cubicBezTo>
                  <a:cubicBezTo>
                    <a:pt x="229" y="190"/>
                    <a:pt x="230" y="189"/>
                    <a:pt x="230" y="188"/>
                  </a:cubicBezTo>
                  <a:cubicBezTo>
                    <a:pt x="230" y="188"/>
                    <a:pt x="230" y="188"/>
                    <a:pt x="230" y="188"/>
                  </a:cubicBezTo>
                  <a:cubicBezTo>
                    <a:pt x="230" y="187"/>
                    <a:pt x="230" y="187"/>
                    <a:pt x="230" y="187"/>
                  </a:cubicBezTo>
                  <a:cubicBezTo>
                    <a:pt x="230" y="187"/>
                    <a:pt x="230" y="187"/>
                    <a:pt x="230" y="187"/>
                  </a:cubicBezTo>
                  <a:cubicBezTo>
                    <a:pt x="230" y="182"/>
                    <a:pt x="228" y="178"/>
                    <a:pt x="226" y="175"/>
                  </a:cubicBezTo>
                  <a:cubicBezTo>
                    <a:pt x="226" y="176"/>
                    <a:pt x="226" y="176"/>
                    <a:pt x="225" y="176"/>
                  </a:cubicBezTo>
                  <a:lnTo>
                    <a:pt x="225" y="177"/>
                  </a:lnTo>
                  <a:cubicBezTo>
                    <a:pt x="222" y="185"/>
                    <a:pt x="222" y="199"/>
                    <a:pt x="225" y="218"/>
                  </a:cubicBezTo>
                  <a:close/>
                  <a:moveTo>
                    <a:pt x="322" y="161"/>
                  </a:moveTo>
                  <a:lnTo>
                    <a:pt x="441" y="161"/>
                  </a:lnTo>
                  <a:cubicBezTo>
                    <a:pt x="439" y="155"/>
                    <a:pt x="436" y="151"/>
                    <a:pt x="434" y="148"/>
                  </a:cubicBezTo>
                  <a:lnTo>
                    <a:pt x="335" y="49"/>
                  </a:lnTo>
                  <a:cubicBezTo>
                    <a:pt x="333" y="47"/>
                    <a:pt x="328" y="45"/>
                    <a:pt x="322" y="42"/>
                  </a:cubicBezTo>
                  <a:lnTo>
                    <a:pt x="322" y="161"/>
                  </a:lnTo>
                  <a:close/>
                  <a:moveTo>
                    <a:pt x="346" y="372"/>
                  </a:moveTo>
                  <a:cubicBezTo>
                    <a:pt x="362" y="378"/>
                    <a:pt x="375" y="381"/>
                    <a:pt x="385" y="381"/>
                  </a:cubicBezTo>
                  <a:cubicBezTo>
                    <a:pt x="388" y="381"/>
                    <a:pt x="390" y="381"/>
                    <a:pt x="390" y="381"/>
                  </a:cubicBezTo>
                  <a:cubicBezTo>
                    <a:pt x="390" y="381"/>
                    <a:pt x="390" y="380"/>
                    <a:pt x="390" y="380"/>
                  </a:cubicBezTo>
                  <a:cubicBezTo>
                    <a:pt x="385" y="375"/>
                    <a:pt x="370" y="372"/>
                    <a:pt x="346" y="372"/>
                  </a:cubicBezTo>
                  <a:close/>
                </a:path>
              </a:pathLst>
            </a:custGeom>
            <a:solidFill>
              <a:srgbClr val="0D5893"/>
            </a:solidFill>
            <a:ln w="0">
              <a:solidFill>
                <a:srgbClr val="0D5893"/>
              </a:solidFill>
              <a:prstDash val="solid"/>
              <a:round/>
              <a:headEnd/>
              <a:tailEnd/>
            </a:ln>
          </p:spPr>
          <p:txBody>
            <a:bodyPr vert="horz" wrap="square" lIns="103632" tIns="51816" rIns="103632" bIns="51816" numCol="1" anchor="t" anchorCtr="0" compatLnSpc="1">
              <a:prstTxWarp prst="textNoShape">
                <a:avLst/>
              </a:prstTxWarp>
            </a:bodyPr>
            <a:lstStyle/>
            <a:p>
              <a:endParaRPr lang="en-US" sz="2400"/>
            </a:p>
          </p:txBody>
        </p:sp>
        <p:sp>
          <p:nvSpPr>
            <p:cNvPr id="34" name="Freeform 449">
              <a:hlinkClick r:id="rId13" action="ppaction://hlinkfile"/>
            </p:cNvPr>
            <p:cNvSpPr>
              <a:spLocks noEditPoints="1"/>
            </p:cNvSpPr>
            <p:nvPr/>
          </p:nvSpPr>
          <p:spPr bwMode="auto">
            <a:xfrm>
              <a:off x="975592" y="4229746"/>
              <a:ext cx="225337" cy="287577"/>
            </a:xfrm>
            <a:custGeom>
              <a:avLst/>
              <a:gdLst>
                <a:gd name="T0" fmla="*/ 0 w 484"/>
                <a:gd name="T1" fmla="*/ 30 h 564"/>
                <a:gd name="T2" fmla="*/ 30 w 484"/>
                <a:gd name="T3" fmla="*/ 0 h 564"/>
                <a:gd name="T4" fmla="*/ 340 w 484"/>
                <a:gd name="T5" fmla="*/ 6 h 564"/>
                <a:gd name="T6" fmla="*/ 462 w 484"/>
                <a:gd name="T7" fmla="*/ 119 h 564"/>
                <a:gd name="T8" fmla="*/ 484 w 484"/>
                <a:gd name="T9" fmla="*/ 171 h 564"/>
                <a:gd name="T10" fmla="*/ 475 w 484"/>
                <a:gd name="T11" fmla="*/ 555 h 564"/>
                <a:gd name="T12" fmla="*/ 30 w 484"/>
                <a:gd name="T13" fmla="*/ 564 h 564"/>
                <a:gd name="T14" fmla="*/ 0 w 484"/>
                <a:gd name="T15" fmla="*/ 534 h 564"/>
                <a:gd name="T16" fmla="*/ 443 w 484"/>
                <a:gd name="T17" fmla="*/ 524 h 564"/>
                <a:gd name="T18" fmla="*/ 312 w 484"/>
                <a:gd name="T19" fmla="*/ 201 h 564"/>
                <a:gd name="T20" fmla="*/ 282 w 484"/>
                <a:gd name="T21" fmla="*/ 171 h 564"/>
                <a:gd name="T22" fmla="*/ 40 w 484"/>
                <a:gd name="T23" fmla="*/ 40 h 564"/>
                <a:gd name="T24" fmla="*/ 81 w 484"/>
                <a:gd name="T25" fmla="*/ 465 h 564"/>
                <a:gd name="T26" fmla="*/ 140 w 484"/>
                <a:gd name="T27" fmla="*/ 405 h 564"/>
                <a:gd name="T28" fmla="*/ 148 w 484"/>
                <a:gd name="T29" fmla="*/ 408 h 564"/>
                <a:gd name="T30" fmla="*/ 214 w 484"/>
                <a:gd name="T31" fmla="*/ 264 h 564"/>
                <a:gd name="T32" fmla="*/ 207 w 484"/>
                <a:gd name="T33" fmla="*/ 174 h 564"/>
                <a:gd name="T34" fmla="*/ 227 w 484"/>
                <a:gd name="T35" fmla="*/ 161 h 564"/>
                <a:gd name="T36" fmla="*/ 238 w 484"/>
                <a:gd name="T37" fmla="*/ 166 h 564"/>
                <a:gd name="T38" fmla="*/ 240 w 484"/>
                <a:gd name="T39" fmla="*/ 190 h 564"/>
                <a:gd name="T40" fmla="*/ 240 w 484"/>
                <a:gd name="T41" fmla="*/ 202 h 564"/>
                <a:gd name="T42" fmla="*/ 281 w 484"/>
                <a:gd name="T43" fmla="*/ 337 h 564"/>
                <a:gd name="T44" fmla="*/ 345 w 484"/>
                <a:gd name="T45" fmla="*/ 352 h 564"/>
                <a:gd name="T46" fmla="*/ 401 w 484"/>
                <a:gd name="T47" fmla="*/ 384 h 564"/>
                <a:gd name="T48" fmla="*/ 400 w 484"/>
                <a:gd name="T49" fmla="*/ 385 h 564"/>
                <a:gd name="T50" fmla="*/ 378 w 484"/>
                <a:gd name="T51" fmla="*/ 398 h 564"/>
                <a:gd name="T52" fmla="*/ 301 w 484"/>
                <a:gd name="T53" fmla="*/ 375 h 564"/>
                <a:gd name="T54" fmla="*/ 101 w 484"/>
                <a:gd name="T55" fmla="*/ 483 h 564"/>
                <a:gd name="T56" fmla="*/ 85 w 484"/>
                <a:gd name="T57" fmla="*/ 477 h 564"/>
                <a:gd name="T58" fmla="*/ 81 w 484"/>
                <a:gd name="T59" fmla="*/ 465 h 564"/>
                <a:gd name="T60" fmla="*/ 143 w 484"/>
                <a:gd name="T61" fmla="*/ 417 h 564"/>
                <a:gd name="T62" fmla="*/ 100 w 484"/>
                <a:gd name="T63" fmla="*/ 466 h 564"/>
                <a:gd name="T64" fmla="*/ 276 w 484"/>
                <a:gd name="T65" fmla="*/ 359 h 564"/>
                <a:gd name="T66" fmla="*/ 267 w 484"/>
                <a:gd name="T67" fmla="*/ 352 h 564"/>
                <a:gd name="T68" fmla="*/ 200 w 484"/>
                <a:gd name="T69" fmla="*/ 359 h 564"/>
                <a:gd name="T70" fmla="*/ 225 w 484"/>
                <a:gd name="T71" fmla="*/ 218 h 564"/>
                <a:gd name="T72" fmla="*/ 229 w 484"/>
                <a:gd name="T73" fmla="*/ 191 h 564"/>
                <a:gd name="T74" fmla="*/ 230 w 484"/>
                <a:gd name="T75" fmla="*/ 188 h 564"/>
                <a:gd name="T76" fmla="*/ 230 w 484"/>
                <a:gd name="T77" fmla="*/ 187 h 564"/>
                <a:gd name="T78" fmla="*/ 225 w 484"/>
                <a:gd name="T79" fmla="*/ 176 h 564"/>
                <a:gd name="T80" fmla="*/ 225 w 484"/>
                <a:gd name="T81" fmla="*/ 218 h 564"/>
                <a:gd name="T82" fmla="*/ 441 w 484"/>
                <a:gd name="T83" fmla="*/ 161 h 564"/>
                <a:gd name="T84" fmla="*/ 335 w 484"/>
                <a:gd name="T85" fmla="*/ 49 h 564"/>
                <a:gd name="T86" fmla="*/ 322 w 484"/>
                <a:gd name="T87" fmla="*/ 161 h 564"/>
                <a:gd name="T88" fmla="*/ 385 w 484"/>
                <a:gd name="T89" fmla="*/ 381 h 564"/>
                <a:gd name="T90" fmla="*/ 390 w 484"/>
                <a:gd name="T91" fmla="*/ 38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564">
                  <a:moveTo>
                    <a:pt x="0" y="534"/>
                  </a:moveTo>
                  <a:lnTo>
                    <a:pt x="0" y="30"/>
                  </a:lnTo>
                  <a:cubicBezTo>
                    <a:pt x="0" y="21"/>
                    <a:pt x="3" y="14"/>
                    <a:pt x="9" y="8"/>
                  </a:cubicBezTo>
                  <a:cubicBezTo>
                    <a:pt x="15" y="3"/>
                    <a:pt x="22" y="0"/>
                    <a:pt x="30" y="0"/>
                  </a:cubicBezTo>
                  <a:lnTo>
                    <a:pt x="312" y="0"/>
                  </a:lnTo>
                  <a:cubicBezTo>
                    <a:pt x="321" y="0"/>
                    <a:pt x="330" y="2"/>
                    <a:pt x="340" y="6"/>
                  </a:cubicBezTo>
                  <a:cubicBezTo>
                    <a:pt x="350" y="10"/>
                    <a:pt x="358" y="15"/>
                    <a:pt x="364" y="21"/>
                  </a:cubicBezTo>
                  <a:lnTo>
                    <a:pt x="462" y="119"/>
                  </a:lnTo>
                  <a:cubicBezTo>
                    <a:pt x="468" y="125"/>
                    <a:pt x="473" y="133"/>
                    <a:pt x="477" y="143"/>
                  </a:cubicBezTo>
                  <a:cubicBezTo>
                    <a:pt x="482" y="153"/>
                    <a:pt x="484" y="163"/>
                    <a:pt x="484" y="171"/>
                  </a:cubicBezTo>
                  <a:lnTo>
                    <a:pt x="484" y="534"/>
                  </a:lnTo>
                  <a:cubicBezTo>
                    <a:pt x="484" y="542"/>
                    <a:pt x="481" y="549"/>
                    <a:pt x="475" y="555"/>
                  </a:cubicBezTo>
                  <a:cubicBezTo>
                    <a:pt x="469" y="561"/>
                    <a:pt x="462" y="564"/>
                    <a:pt x="453" y="564"/>
                  </a:cubicBezTo>
                  <a:lnTo>
                    <a:pt x="30" y="564"/>
                  </a:lnTo>
                  <a:cubicBezTo>
                    <a:pt x="22" y="564"/>
                    <a:pt x="15" y="561"/>
                    <a:pt x="9" y="555"/>
                  </a:cubicBezTo>
                  <a:cubicBezTo>
                    <a:pt x="3" y="549"/>
                    <a:pt x="0" y="542"/>
                    <a:pt x="0" y="534"/>
                  </a:cubicBezTo>
                  <a:close/>
                  <a:moveTo>
                    <a:pt x="40" y="524"/>
                  </a:moveTo>
                  <a:lnTo>
                    <a:pt x="443" y="524"/>
                  </a:lnTo>
                  <a:lnTo>
                    <a:pt x="443" y="201"/>
                  </a:lnTo>
                  <a:lnTo>
                    <a:pt x="312" y="201"/>
                  </a:lnTo>
                  <a:cubicBezTo>
                    <a:pt x="304" y="201"/>
                    <a:pt x="297" y="198"/>
                    <a:pt x="291" y="192"/>
                  </a:cubicBezTo>
                  <a:cubicBezTo>
                    <a:pt x="285" y="187"/>
                    <a:pt x="282" y="179"/>
                    <a:pt x="282" y="171"/>
                  </a:cubicBezTo>
                  <a:lnTo>
                    <a:pt x="282" y="40"/>
                  </a:lnTo>
                  <a:lnTo>
                    <a:pt x="40" y="40"/>
                  </a:lnTo>
                  <a:lnTo>
                    <a:pt x="40" y="524"/>
                  </a:lnTo>
                  <a:close/>
                  <a:moveTo>
                    <a:pt x="81" y="465"/>
                  </a:moveTo>
                  <a:cubicBezTo>
                    <a:pt x="83" y="456"/>
                    <a:pt x="89" y="447"/>
                    <a:pt x="98" y="436"/>
                  </a:cubicBezTo>
                  <a:cubicBezTo>
                    <a:pt x="108" y="425"/>
                    <a:pt x="122" y="415"/>
                    <a:pt x="140" y="405"/>
                  </a:cubicBezTo>
                  <a:cubicBezTo>
                    <a:pt x="143" y="403"/>
                    <a:pt x="145" y="404"/>
                    <a:pt x="147" y="407"/>
                  </a:cubicBezTo>
                  <a:cubicBezTo>
                    <a:pt x="148" y="408"/>
                    <a:pt x="148" y="408"/>
                    <a:pt x="148" y="408"/>
                  </a:cubicBezTo>
                  <a:cubicBezTo>
                    <a:pt x="159" y="391"/>
                    <a:pt x="170" y="370"/>
                    <a:pt x="182" y="346"/>
                  </a:cubicBezTo>
                  <a:cubicBezTo>
                    <a:pt x="196" y="318"/>
                    <a:pt x="207" y="290"/>
                    <a:pt x="214" y="264"/>
                  </a:cubicBezTo>
                  <a:cubicBezTo>
                    <a:pt x="209" y="247"/>
                    <a:pt x="206" y="230"/>
                    <a:pt x="205" y="214"/>
                  </a:cubicBezTo>
                  <a:cubicBezTo>
                    <a:pt x="203" y="197"/>
                    <a:pt x="204" y="184"/>
                    <a:pt x="207" y="174"/>
                  </a:cubicBezTo>
                  <a:cubicBezTo>
                    <a:pt x="209" y="165"/>
                    <a:pt x="213" y="161"/>
                    <a:pt x="220" y="161"/>
                  </a:cubicBezTo>
                  <a:lnTo>
                    <a:pt x="227" y="161"/>
                  </a:lnTo>
                  <a:lnTo>
                    <a:pt x="227" y="161"/>
                  </a:lnTo>
                  <a:cubicBezTo>
                    <a:pt x="232" y="161"/>
                    <a:pt x="235" y="162"/>
                    <a:pt x="238" y="166"/>
                  </a:cubicBezTo>
                  <a:cubicBezTo>
                    <a:pt x="242" y="170"/>
                    <a:pt x="243" y="177"/>
                    <a:pt x="241" y="187"/>
                  </a:cubicBezTo>
                  <a:cubicBezTo>
                    <a:pt x="240" y="188"/>
                    <a:pt x="240" y="189"/>
                    <a:pt x="240" y="190"/>
                  </a:cubicBezTo>
                  <a:cubicBezTo>
                    <a:pt x="240" y="190"/>
                    <a:pt x="240" y="191"/>
                    <a:pt x="240" y="192"/>
                  </a:cubicBezTo>
                  <a:lnTo>
                    <a:pt x="240" y="202"/>
                  </a:lnTo>
                  <a:cubicBezTo>
                    <a:pt x="239" y="227"/>
                    <a:pt x="238" y="248"/>
                    <a:pt x="235" y="262"/>
                  </a:cubicBezTo>
                  <a:cubicBezTo>
                    <a:pt x="247" y="296"/>
                    <a:pt x="262" y="321"/>
                    <a:pt x="281" y="337"/>
                  </a:cubicBezTo>
                  <a:cubicBezTo>
                    <a:pt x="288" y="342"/>
                    <a:pt x="297" y="348"/>
                    <a:pt x="308" y="355"/>
                  </a:cubicBezTo>
                  <a:cubicBezTo>
                    <a:pt x="320" y="353"/>
                    <a:pt x="333" y="352"/>
                    <a:pt x="345" y="352"/>
                  </a:cubicBezTo>
                  <a:cubicBezTo>
                    <a:pt x="376" y="352"/>
                    <a:pt x="394" y="358"/>
                    <a:pt x="400" y="368"/>
                  </a:cubicBezTo>
                  <a:cubicBezTo>
                    <a:pt x="404" y="372"/>
                    <a:pt x="404" y="378"/>
                    <a:pt x="401" y="384"/>
                  </a:cubicBezTo>
                  <a:cubicBezTo>
                    <a:pt x="401" y="384"/>
                    <a:pt x="401" y="385"/>
                    <a:pt x="401" y="385"/>
                  </a:cubicBezTo>
                  <a:lnTo>
                    <a:pt x="400" y="385"/>
                  </a:lnTo>
                  <a:lnTo>
                    <a:pt x="400" y="386"/>
                  </a:lnTo>
                  <a:cubicBezTo>
                    <a:pt x="399" y="394"/>
                    <a:pt x="391" y="398"/>
                    <a:pt x="378" y="398"/>
                  </a:cubicBezTo>
                  <a:cubicBezTo>
                    <a:pt x="368" y="398"/>
                    <a:pt x="356" y="396"/>
                    <a:pt x="342" y="391"/>
                  </a:cubicBezTo>
                  <a:cubicBezTo>
                    <a:pt x="328" y="387"/>
                    <a:pt x="314" y="382"/>
                    <a:pt x="301" y="375"/>
                  </a:cubicBezTo>
                  <a:cubicBezTo>
                    <a:pt x="254" y="380"/>
                    <a:pt x="213" y="389"/>
                    <a:pt x="177" y="401"/>
                  </a:cubicBezTo>
                  <a:cubicBezTo>
                    <a:pt x="145" y="456"/>
                    <a:pt x="120" y="483"/>
                    <a:pt x="101" y="483"/>
                  </a:cubicBezTo>
                  <a:cubicBezTo>
                    <a:pt x="98" y="483"/>
                    <a:pt x="95" y="483"/>
                    <a:pt x="92" y="481"/>
                  </a:cubicBezTo>
                  <a:lnTo>
                    <a:pt x="85" y="477"/>
                  </a:lnTo>
                  <a:cubicBezTo>
                    <a:pt x="84" y="477"/>
                    <a:pt x="84" y="477"/>
                    <a:pt x="83" y="476"/>
                  </a:cubicBezTo>
                  <a:cubicBezTo>
                    <a:pt x="81" y="474"/>
                    <a:pt x="80" y="470"/>
                    <a:pt x="81" y="465"/>
                  </a:cubicBezTo>
                  <a:close/>
                  <a:moveTo>
                    <a:pt x="100" y="466"/>
                  </a:moveTo>
                  <a:cubicBezTo>
                    <a:pt x="111" y="461"/>
                    <a:pt x="125" y="445"/>
                    <a:pt x="143" y="417"/>
                  </a:cubicBezTo>
                  <a:cubicBezTo>
                    <a:pt x="132" y="425"/>
                    <a:pt x="123" y="434"/>
                    <a:pt x="116" y="443"/>
                  </a:cubicBezTo>
                  <a:cubicBezTo>
                    <a:pt x="108" y="452"/>
                    <a:pt x="103" y="460"/>
                    <a:pt x="100" y="466"/>
                  </a:cubicBezTo>
                  <a:close/>
                  <a:moveTo>
                    <a:pt x="186" y="385"/>
                  </a:moveTo>
                  <a:cubicBezTo>
                    <a:pt x="215" y="374"/>
                    <a:pt x="244" y="365"/>
                    <a:pt x="276" y="359"/>
                  </a:cubicBezTo>
                  <a:cubicBezTo>
                    <a:pt x="275" y="359"/>
                    <a:pt x="274" y="358"/>
                    <a:pt x="272" y="356"/>
                  </a:cubicBezTo>
                  <a:cubicBezTo>
                    <a:pt x="269" y="355"/>
                    <a:pt x="268" y="353"/>
                    <a:pt x="267" y="352"/>
                  </a:cubicBezTo>
                  <a:cubicBezTo>
                    <a:pt x="251" y="338"/>
                    <a:pt x="237" y="320"/>
                    <a:pt x="227" y="297"/>
                  </a:cubicBezTo>
                  <a:cubicBezTo>
                    <a:pt x="221" y="315"/>
                    <a:pt x="212" y="335"/>
                    <a:pt x="200" y="359"/>
                  </a:cubicBezTo>
                  <a:cubicBezTo>
                    <a:pt x="194" y="370"/>
                    <a:pt x="189" y="379"/>
                    <a:pt x="186" y="385"/>
                  </a:cubicBezTo>
                  <a:close/>
                  <a:moveTo>
                    <a:pt x="225" y="218"/>
                  </a:moveTo>
                  <a:cubicBezTo>
                    <a:pt x="225" y="217"/>
                    <a:pt x="226" y="212"/>
                    <a:pt x="227" y="204"/>
                  </a:cubicBezTo>
                  <a:cubicBezTo>
                    <a:pt x="227" y="204"/>
                    <a:pt x="228" y="199"/>
                    <a:pt x="229" y="191"/>
                  </a:cubicBezTo>
                  <a:cubicBezTo>
                    <a:pt x="229" y="190"/>
                    <a:pt x="230" y="189"/>
                    <a:pt x="230" y="188"/>
                  </a:cubicBezTo>
                  <a:cubicBezTo>
                    <a:pt x="230" y="188"/>
                    <a:pt x="230" y="188"/>
                    <a:pt x="230" y="188"/>
                  </a:cubicBezTo>
                  <a:cubicBezTo>
                    <a:pt x="230" y="187"/>
                    <a:pt x="230" y="187"/>
                    <a:pt x="230" y="187"/>
                  </a:cubicBezTo>
                  <a:cubicBezTo>
                    <a:pt x="230" y="187"/>
                    <a:pt x="230" y="187"/>
                    <a:pt x="230" y="187"/>
                  </a:cubicBezTo>
                  <a:cubicBezTo>
                    <a:pt x="230" y="182"/>
                    <a:pt x="228" y="178"/>
                    <a:pt x="226" y="175"/>
                  </a:cubicBezTo>
                  <a:cubicBezTo>
                    <a:pt x="226" y="176"/>
                    <a:pt x="226" y="176"/>
                    <a:pt x="225" y="176"/>
                  </a:cubicBezTo>
                  <a:lnTo>
                    <a:pt x="225" y="177"/>
                  </a:lnTo>
                  <a:cubicBezTo>
                    <a:pt x="222" y="185"/>
                    <a:pt x="222" y="199"/>
                    <a:pt x="225" y="218"/>
                  </a:cubicBezTo>
                  <a:close/>
                  <a:moveTo>
                    <a:pt x="322" y="161"/>
                  </a:moveTo>
                  <a:lnTo>
                    <a:pt x="441" y="161"/>
                  </a:lnTo>
                  <a:cubicBezTo>
                    <a:pt x="439" y="155"/>
                    <a:pt x="436" y="151"/>
                    <a:pt x="434" y="148"/>
                  </a:cubicBezTo>
                  <a:lnTo>
                    <a:pt x="335" y="49"/>
                  </a:lnTo>
                  <a:cubicBezTo>
                    <a:pt x="333" y="47"/>
                    <a:pt x="328" y="45"/>
                    <a:pt x="322" y="42"/>
                  </a:cubicBezTo>
                  <a:lnTo>
                    <a:pt x="322" y="161"/>
                  </a:lnTo>
                  <a:close/>
                  <a:moveTo>
                    <a:pt x="346" y="372"/>
                  </a:moveTo>
                  <a:cubicBezTo>
                    <a:pt x="362" y="378"/>
                    <a:pt x="375" y="381"/>
                    <a:pt x="385" y="381"/>
                  </a:cubicBezTo>
                  <a:cubicBezTo>
                    <a:pt x="388" y="381"/>
                    <a:pt x="390" y="381"/>
                    <a:pt x="390" y="381"/>
                  </a:cubicBezTo>
                  <a:cubicBezTo>
                    <a:pt x="390" y="381"/>
                    <a:pt x="390" y="380"/>
                    <a:pt x="390" y="380"/>
                  </a:cubicBezTo>
                  <a:cubicBezTo>
                    <a:pt x="385" y="375"/>
                    <a:pt x="370" y="372"/>
                    <a:pt x="346" y="372"/>
                  </a:cubicBezTo>
                  <a:close/>
                </a:path>
              </a:pathLst>
            </a:custGeom>
            <a:solidFill>
              <a:srgbClr val="0D5893"/>
            </a:solidFill>
            <a:ln w="0">
              <a:solidFill>
                <a:srgbClr val="0D5893"/>
              </a:solidFill>
              <a:prstDash val="solid"/>
              <a:round/>
              <a:headEnd/>
              <a:tailEnd/>
            </a:ln>
          </p:spPr>
          <p:txBody>
            <a:bodyPr vert="horz" wrap="square" lIns="103632" tIns="51816" rIns="103632" bIns="51816" numCol="1" anchor="t" anchorCtr="0" compatLnSpc="1">
              <a:prstTxWarp prst="textNoShape">
                <a:avLst/>
              </a:prstTxWarp>
            </a:bodyPr>
            <a:lstStyle/>
            <a:p>
              <a:endParaRPr lang="en-US" sz="2400"/>
            </a:p>
          </p:txBody>
        </p:sp>
        <p:sp>
          <p:nvSpPr>
            <p:cNvPr id="35" name="Rechteck 34"/>
            <p:cNvSpPr/>
            <p:nvPr/>
          </p:nvSpPr>
          <p:spPr>
            <a:xfrm>
              <a:off x="616032" y="1088836"/>
              <a:ext cx="2145440" cy="369332"/>
            </a:xfrm>
            <a:prstGeom prst="rect">
              <a:avLst/>
            </a:prstGeom>
          </p:spPr>
          <p:txBody>
            <a:bodyPr wrap="none" lIns="103632" tIns="51816" rIns="103632" bIns="51816">
              <a:spAutoFit/>
            </a:bodyPr>
            <a:lstStyle/>
            <a:p>
              <a:r>
                <a:rPr lang="de-DE" sz="2040" dirty="0"/>
                <a:t>KMG-500 KOLROBOT</a:t>
              </a:r>
            </a:p>
          </p:txBody>
        </p:sp>
        <p:sp>
          <p:nvSpPr>
            <p:cNvPr id="36" name="Rechteck 35"/>
            <p:cNvSpPr/>
            <p:nvPr/>
          </p:nvSpPr>
          <p:spPr>
            <a:xfrm>
              <a:off x="7690274" y="1249300"/>
              <a:ext cx="1346579" cy="369332"/>
            </a:xfrm>
            <a:prstGeom prst="rect">
              <a:avLst/>
            </a:prstGeom>
          </p:spPr>
          <p:txBody>
            <a:bodyPr wrap="none" lIns="103632" tIns="51816" rIns="103632" bIns="51816">
              <a:spAutoFit/>
            </a:bodyPr>
            <a:lstStyle/>
            <a:p>
              <a:r>
                <a:rPr lang="de-DE" sz="2040" dirty="0"/>
                <a:t>Fuji </a:t>
              </a:r>
              <a:r>
                <a:rPr lang="de-DE" sz="2040" dirty="0" err="1"/>
                <a:t>Prescale</a:t>
              </a:r>
              <a:endParaRPr lang="de-DE" sz="2040" dirty="0"/>
            </a:p>
          </p:txBody>
        </p:sp>
        <p:sp>
          <p:nvSpPr>
            <p:cNvPr id="37" name="Rechteck 36"/>
            <p:cNvSpPr/>
            <p:nvPr/>
          </p:nvSpPr>
          <p:spPr>
            <a:xfrm>
              <a:off x="3311174" y="3588288"/>
              <a:ext cx="2786622" cy="369332"/>
            </a:xfrm>
            <a:prstGeom prst="rect">
              <a:avLst/>
            </a:prstGeom>
          </p:spPr>
          <p:txBody>
            <a:bodyPr wrap="none" lIns="103632" tIns="51816" rIns="103632" bIns="51816">
              <a:spAutoFit/>
            </a:bodyPr>
            <a:lstStyle/>
            <a:p>
              <a:r>
                <a:rPr lang="de-DE" sz="2040" dirty="0"/>
                <a:t>KK1 Kompressionselemente</a:t>
              </a:r>
            </a:p>
          </p:txBody>
        </p:sp>
        <p:sp>
          <p:nvSpPr>
            <p:cNvPr id="38" name="Rechteck 37"/>
            <p:cNvSpPr/>
            <p:nvPr/>
          </p:nvSpPr>
          <p:spPr>
            <a:xfrm>
              <a:off x="6714401" y="5490423"/>
              <a:ext cx="1777919" cy="369332"/>
            </a:xfrm>
            <a:prstGeom prst="rect">
              <a:avLst/>
            </a:prstGeom>
          </p:spPr>
          <p:txBody>
            <a:bodyPr wrap="none" lIns="103632" tIns="51816" rIns="103632" bIns="51816">
              <a:spAutoFit/>
            </a:bodyPr>
            <a:lstStyle/>
            <a:p>
              <a:r>
                <a:rPr lang="de-DE" sz="2040" dirty="0"/>
                <a:t>TEKSCAN-System</a:t>
              </a:r>
            </a:p>
          </p:txBody>
        </p:sp>
        <p:sp>
          <p:nvSpPr>
            <p:cNvPr id="39" name="Rechteck 38"/>
            <p:cNvSpPr/>
            <p:nvPr/>
          </p:nvSpPr>
          <p:spPr>
            <a:xfrm>
              <a:off x="789384" y="3351466"/>
              <a:ext cx="1877720" cy="646331"/>
            </a:xfrm>
            <a:prstGeom prst="rect">
              <a:avLst/>
            </a:prstGeom>
            <a:solidFill>
              <a:schemeClr val="bg1"/>
            </a:solidFill>
          </p:spPr>
          <p:txBody>
            <a:bodyPr wrap="none" lIns="103632" tIns="51816" rIns="103632" bIns="51816">
              <a:spAutoFit/>
            </a:bodyPr>
            <a:lstStyle/>
            <a:p>
              <a:r>
                <a:rPr lang="de-DE" sz="2040" dirty="0"/>
                <a:t>Piezo-Sensoren </a:t>
              </a:r>
            </a:p>
            <a:p>
              <a:r>
                <a:rPr lang="de-DE" sz="2040" dirty="0"/>
                <a:t>300 N und 1000 N</a:t>
              </a:r>
            </a:p>
          </p:txBody>
        </p:sp>
        <p:pic>
          <p:nvPicPr>
            <p:cNvPr id="40" name="Grafik 39"/>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922655" y="1155839"/>
              <a:ext cx="2689421" cy="1417109"/>
            </a:xfrm>
            <a:prstGeom prst="rect">
              <a:avLst/>
            </a:prstGeom>
          </p:spPr>
        </p:pic>
        <p:pic>
          <p:nvPicPr>
            <p:cNvPr id="41" name="Grafik 2">
              <a:hlinkClick r:id="rId15" action="ppaction://hlinkfile"/>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bwMode="auto">
            <a:xfrm>
              <a:off x="4712398" y="2335352"/>
              <a:ext cx="1109934" cy="55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Quelle"/>
            <p:cNvSpPr txBox="1">
              <a:spLocks noChangeArrowheads="1"/>
            </p:cNvSpPr>
            <p:nvPr/>
          </p:nvSpPr>
          <p:spPr bwMode="auto">
            <a:xfrm>
              <a:off x="7808594" y="5912465"/>
              <a:ext cx="9467850" cy="17923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Fuji, </a:t>
              </a:r>
              <a:r>
                <a:rPr lang="de-DE" sz="1000" dirty="0" err="1"/>
                <a:t>Tekscan</a:t>
              </a:r>
              <a:r>
                <a:rPr lang="de-DE" sz="1000" dirty="0"/>
                <a:t>, GTE </a:t>
              </a:r>
            </a:p>
          </p:txBody>
        </p:sp>
      </p:grpSp>
    </p:spTree>
    <p:extLst>
      <p:ext uri="{BB962C8B-B14F-4D97-AF65-F5344CB8AC3E}">
        <p14:creationId xmlns:p14="http://schemas.microsoft.com/office/powerpoint/2010/main" val="25248409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511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showWhenStopped="0">
                <p:cTn id="7" fill="hold" display="0">
                  <p:stCondLst>
                    <p:cond delay="indefinite"/>
                  </p:stCondLst>
                </p:cTn>
                <p:tgtEl>
                  <p:spTgt spid="3"/>
                </p:tgtEl>
              </p:cMediaNode>
            </p:video>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887311" y="322603"/>
            <a:ext cx="11048009" cy="684213"/>
          </a:xfrm>
        </p:spPr>
        <p:txBody>
          <a:bodyPr>
            <a:normAutofit fontScale="90000"/>
          </a:bodyPr>
          <a:lstStyle/>
          <a:p>
            <a:r>
              <a:rPr lang="de-DE" dirty="0"/>
              <a:t>DGUV-Information: Planung von Anlagen mit der Funktion „Leistungs- und Kraftbegrenzung“ </a:t>
            </a:r>
          </a:p>
        </p:txBody>
      </p:sp>
      <p:pic>
        <p:nvPicPr>
          <p:cNvPr id="4" name="Grafik 3"/>
          <p:cNvPicPr>
            <a:picLocks noChangeAspect="1"/>
          </p:cNvPicPr>
          <p:nvPr/>
        </p:nvPicPr>
        <p:blipFill rotWithShape="1">
          <a:blip r:embed="rId2"/>
          <a:srcRect t="4843" b="36535"/>
          <a:stretch/>
        </p:blipFill>
        <p:spPr>
          <a:xfrm>
            <a:off x="1471197" y="2117647"/>
            <a:ext cx="3172988" cy="2319796"/>
          </a:xfrm>
          <a:prstGeom prst="rect">
            <a:avLst/>
          </a:prstGeom>
        </p:spPr>
      </p:pic>
      <p:pic>
        <p:nvPicPr>
          <p:cNvPr id="6" name="Grafik 5"/>
          <p:cNvPicPr>
            <a:picLocks noChangeAspect="1"/>
          </p:cNvPicPr>
          <p:nvPr/>
        </p:nvPicPr>
        <p:blipFill rotWithShape="1">
          <a:blip r:embed="rId3"/>
          <a:srcRect t="14991" b="27121"/>
          <a:stretch/>
        </p:blipFill>
        <p:spPr>
          <a:xfrm>
            <a:off x="8131540" y="2201767"/>
            <a:ext cx="2696798" cy="2423162"/>
          </a:xfrm>
          <a:prstGeom prst="rect">
            <a:avLst/>
          </a:prstGeom>
        </p:spPr>
      </p:pic>
      <p:sp>
        <p:nvSpPr>
          <p:cNvPr id="7" name="Textfeld 6"/>
          <p:cNvSpPr txBox="1"/>
          <p:nvPr/>
        </p:nvSpPr>
        <p:spPr>
          <a:xfrm>
            <a:off x="7898941" y="1643454"/>
            <a:ext cx="2120837" cy="369332"/>
          </a:xfrm>
          <a:prstGeom prst="rect">
            <a:avLst/>
          </a:prstGeom>
          <a:noFill/>
        </p:spPr>
        <p:txBody>
          <a:bodyPr wrap="none" rtlCol="0">
            <a:spAutoFit/>
          </a:bodyPr>
          <a:lstStyle/>
          <a:p>
            <a:r>
              <a:rPr lang="de-DE" dirty="0"/>
              <a:t>Checkliste der DGUV</a:t>
            </a:r>
          </a:p>
        </p:txBody>
      </p:sp>
      <p:sp>
        <p:nvSpPr>
          <p:cNvPr id="8" name="Freeform 449">
            <a:hlinkClick r:id="rId4" action="ppaction://hlinkfile"/>
          </p:cNvPr>
          <p:cNvSpPr>
            <a:spLocks noEditPoints="1"/>
          </p:cNvSpPr>
          <p:nvPr/>
        </p:nvSpPr>
        <p:spPr bwMode="auto">
          <a:xfrm>
            <a:off x="10276986" y="1554767"/>
            <a:ext cx="210737" cy="284441"/>
          </a:xfrm>
          <a:custGeom>
            <a:avLst/>
            <a:gdLst>
              <a:gd name="T0" fmla="*/ 0 w 484"/>
              <a:gd name="T1" fmla="*/ 30 h 564"/>
              <a:gd name="T2" fmla="*/ 30 w 484"/>
              <a:gd name="T3" fmla="*/ 0 h 564"/>
              <a:gd name="T4" fmla="*/ 340 w 484"/>
              <a:gd name="T5" fmla="*/ 6 h 564"/>
              <a:gd name="T6" fmla="*/ 462 w 484"/>
              <a:gd name="T7" fmla="*/ 119 h 564"/>
              <a:gd name="T8" fmla="*/ 484 w 484"/>
              <a:gd name="T9" fmla="*/ 171 h 564"/>
              <a:gd name="T10" fmla="*/ 475 w 484"/>
              <a:gd name="T11" fmla="*/ 555 h 564"/>
              <a:gd name="T12" fmla="*/ 30 w 484"/>
              <a:gd name="T13" fmla="*/ 564 h 564"/>
              <a:gd name="T14" fmla="*/ 0 w 484"/>
              <a:gd name="T15" fmla="*/ 534 h 564"/>
              <a:gd name="T16" fmla="*/ 443 w 484"/>
              <a:gd name="T17" fmla="*/ 524 h 564"/>
              <a:gd name="T18" fmla="*/ 312 w 484"/>
              <a:gd name="T19" fmla="*/ 201 h 564"/>
              <a:gd name="T20" fmla="*/ 282 w 484"/>
              <a:gd name="T21" fmla="*/ 171 h 564"/>
              <a:gd name="T22" fmla="*/ 40 w 484"/>
              <a:gd name="T23" fmla="*/ 40 h 564"/>
              <a:gd name="T24" fmla="*/ 81 w 484"/>
              <a:gd name="T25" fmla="*/ 465 h 564"/>
              <a:gd name="T26" fmla="*/ 140 w 484"/>
              <a:gd name="T27" fmla="*/ 405 h 564"/>
              <a:gd name="T28" fmla="*/ 148 w 484"/>
              <a:gd name="T29" fmla="*/ 408 h 564"/>
              <a:gd name="T30" fmla="*/ 214 w 484"/>
              <a:gd name="T31" fmla="*/ 264 h 564"/>
              <a:gd name="T32" fmla="*/ 207 w 484"/>
              <a:gd name="T33" fmla="*/ 174 h 564"/>
              <a:gd name="T34" fmla="*/ 227 w 484"/>
              <a:gd name="T35" fmla="*/ 161 h 564"/>
              <a:gd name="T36" fmla="*/ 238 w 484"/>
              <a:gd name="T37" fmla="*/ 166 h 564"/>
              <a:gd name="T38" fmla="*/ 240 w 484"/>
              <a:gd name="T39" fmla="*/ 190 h 564"/>
              <a:gd name="T40" fmla="*/ 240 w 484"/>
              <a:gd name="T41" fmla="*/ 202 h 564"/>
              <a:gd name="T42" fmla="*/ 281 w 484"/>
              <a:gd name="T43" fmla="*/ 337 h 564"/>
              <a:gd name="T44" fmla="*/ 345 w 484"/>
              <a:gd name="T45" fmla="*/ 352 h 564"/>
              <a:gd name="T46" fmla="*/ 401 w 484"/>
              <a:gd name="T47" fmla="*/ 384 h 564"/>
              <a:gd name="T48" fmla="*/ 400 w 484"/>
              <a:gd name="T49" fmla="*/ 385 h 564"/>
              <a:gd name="T50" fmla="*/ 378 w 484"/>
              <a:gd name="T51" fmla="*/ 398 h 564"/>
              <a:gd name="T52" fmla="*/ 301 w 484"/>
              <a:gd name="T53" fmla="*/ 375 h 564"/>
              <a:gd name="T54" fmla="*/ 101 w 484"/>
              <a:gd name="T55" fmla="*/ 483 h 564"/>
              <a:gd name="T56" fmla="*/ 85 w 484"/>
              <a:gd name="T57" fmla="*/ 477 h 564"/>
              <a:gd name="T58" fmla="*/ 81 w 484"/>
              <a:gd name="T59" fmla="*/ 465 h 564"/>
              <a:gd name="T60" fmla="*/ 143 w 484"/>
              <a:gd name="T61" fmla="*/ 417 h 564"/>
              <a:gd name="T62" fmla="*/ 100 w 484"/>
              <a:gd name="T63" fmla="*/ 466 h 564"/>
              <a:gd name="T64" fmla="*/ 276 w 484"/>
              <a:gd name="T65" fmla="*/ 359 h 564"/>
              <a:gd name="T66" fmla="*/ 267 w 484"/>
              <a:gd name="T67" fmla="*/ 352 h 564"/>
              <a:gd name="T68" fmla="*/ 200 w 484"/>
              <a:gd name="T69" fmla="*/ 359 h 564"/>
              <a:gd name="T70" fmla="*/ 225 w 484"/>
              <a:gd name="T71" fmla="*/ 218 h 564"/>
              <a:gd name="T72" fmla="*/ 229 w 484"/>
              <a:gd name="T73" fmla="*/ 191 h 564"/>
              <a:gd name="T74" fmla="*/ 230 w 484"/>
              <a:gd name="T75" fmla="*/ 188 h 564"/>
              <a:gd name="T76" fmla="*/ 230 w 484"/>
              <a:gd name="T77" fmla="*/ 187 h 564"/>
              <a:gd name="T78" fmla="*/ 225 w 484"/>
              <a:gd name="T79" fmla="*/ 176 h 564"/>
              <a:gd name="T80" fmla="*/ 225 w 484"/>
              <a:gd name="T81" fmla="*/ 218 h 564"/>
              <a:gd name="T82" fmla="*/ 441 w 484"/>
              <a:gd name="T83" fmla="*/ 161 h 564"/>
              <a:gd name="T84" fmla="*/ 335 w 484"/>
              <a:gd name="T85" fmla="*/ 49 h 564"/>
              <a:gd name="T86" fmla="*/ 322 w 484"/>
              <a:gd name="T87" fmla="*/ 161 h 564"/>
              <a:gd name="T88" fmla="*/ 385 w 484"/>
              <a:gd name="T89" fmla="*/ 381 h 564"/>
              <a:gd name="T90" fmla="*/ 390 w 484"/>
              <a:gd name="T91" fmla="*/ 38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564">
                <a:moveTo>
                  <a:pt x="0" y="534"/>
                </a:moveTo>
                <a:lnTo>
                  <a:pt x="0" y="30"/>
                </a:lnTo>
                <a:cubicBezTo>
                  <a:pt x="0" y="21"/>
                  <a:pt x="3" y="14"/>
                  <a:pt x="9" y="8"/>
                </a:cubicBezTo>
                <a:cubicBezTo>
                  <a:pt x="15" y="3"/>
                  <a:pt x="22" y="0"/>
                  <a:pt x="30" y="0"/>
                </a:cubicBezTo>
                <a:lnTo>
                  <a:pt x="312" y="0"/>
                </a:lnTo>
                <a:cubicBezTo>
                  <a:pt x="321" y="0"/>
                  <a:pt x="330" y="2"/>
                  <a:pt x="340" y="6"/>
                </a:cubicBezTo>
                <a:cubicBezTo>
                  <a:pt x="350" y="10"/>
                  <a:pt x="358" y="15"/>
                  <a:pt x="364" y="21"/>
                </a:cubicBezTo>
                <a:lnTo>
                  <a:pt x="462" y="119"/>
                </a:lnTo>
                <a:cubicBezTo>
                  <a:pt x="468" y="125"/>
                  <a:pt x="473" y="133"/>
                  <a:pt x="477" y="143"/>
                </a:cubicBezTo>
                <a:cubicBezTo>
                  <a:pt x="482" y="153"/>
                  <a:pt x="484" y="163"/>
                  <a:pt x="484" y="171"/>
                </a:cubicBezTo>
                <a:lnTo>
                  <a:pt x="484" y="534"/>
                </a:lnTo>
                <a:cubicBezTo>
                  <a:pt x="484" y="542"/>
                  <a:pt x="481" y="549"/>
                  <a:pt x="475" y="555"/>
                </a:cubicBezTo>
                <a:cubicBezTo>
                  <a:pt x="469" y="561"/>
                  <a:pt x="462" y="564"/>
                  <a:pt x="453" y="564"/>
                </a:cubicBezTo>
                <a:lnTo>
                  <a:pt x="30" y="564"/>
                </a:lnTo>
                <a:cubicBezTo>
                  <a:pt x="22" y="564"/>
                  <a:pt x="15" y="561"/>
                  <a:pt x="9" y="555"/>
                </a:cubicBezTo>
                <a:cubicBezTo>
                  <a:pt x="3" y="549"/>
                  <a:pt x="0" y="542"/>
                  <a:pt x="0" y="534"/>
                </a:cubicBezTo>
                <a:close/>
                <a:moveTo>
                  <a:pt x="40" y="524"/>
                </a:moveTo>
                <a:lnTo>
                  <a:pt x="443" y="524"/>
                </a:lnTo>
                <a:lnTo>
                  <a:pt x="443" y="201"/>
                </a:lnTo>
                <a:lnTo>
                  <a:pt x="312" y="201"/>
                </a:lnTo>
                <a:cubicBezTo>
                  <a:pt x="304" y="201"/>
                  <a:pt x="297" y="198"/>
                  <a:pt x="291" y="192"/>
                </a:cubicBezTo>
                <a:cubicBezTo>
                  <a:pt x="285" y="187"/>
                  <a:pt x="282" y="179"/>
                  <a:pt x="282" y="171"/>
                </a:cubicBezTo>
                <a:lnTo>
                  <a:pt x="282" y="40"/>
                </a:lnTo>
                <a:lnTo>
                  <a:pt x="40" y="40"/>
                </a:lnTo>
                <a:lnTo>
                  <a:pt x="40" y="524"/>
                </a:lnTo>
                <a:close/>
                <a:moveTo>
                  <a:pt x="81" y="465"/>
                </a:moveTo>
                <a:cubicBezTo>
                  <a:pt x="83" y="456"/>
                  <a:pt x="89" y="447"/>
                  <a:pt x="98" y="436"/>
                </a:cubicBezTo>
                <a:cubicBezTo>
                  <a:pt x="108" y="425"/>
                  <a:pt x="122" y="415"/>
                  <a:pt x="140" y="405"/>
                </a:cubicBezTo>
                <a:cubicBezTo>
                  <a:pt x="143" y="403"/>
                  <a:pt x="145" y="404"/>
                  <a:pt x="147" y="407"/>
                </a:cubicBezTo>
                <a:cubicBezTo>
                  <a:pt x="148" y="408"/>
                  <a:pt x="148" y="408"/>
                  <a:pt x="148" y="408"/>
                </a:cubicBezTo>
                <a:cubicBezTo>
                  <a:pt x="159" y="391"/>
                  <a:pt x="170" y="370"/>
                  <a:pt x="182" y="346"/>
                </a:cubicBezTo>
                <a:cubicBezTo>
                  <a:pt x="196" y="318"/>
                  <a:pt x="207" y="290"/>
                  <a:pt x="214" y="264"/>
                </a:cubicBezTo>
                <a:cubicBezTo>
                  <a:pt x="209" y="247"/>
                  <a:pt x="206" y="230"/>
                  <a:pt x="205" y="214"/>
                </a:cubicBezTo>
                <a:cubicBezTo>
                  <a:pt x="203" y="197"/>
                  <a:pt x="204" y="184"/>
                  <a:pt x="207" y="174"/>
                </a:cubicBezTo>
                <a:cubicBezTo>
                  <a:pt x="209" y="165"/>
                  <a:pt x="213" y="161"/>
                  <a:pt x="220" y="161"/>
                </a:cubicBezTo>
                <a:lnTo>
                  <a:pt x="227" y="161"/>
                </a:lnTo>
                <a:lnTo>
                  <a:pt x="227" y="161"/>
                </a:lnTo>
                <a:cubicBezTo>
                  <a:pt x="232" y="161"/>
                  <a:pt x="235" y="162"/>
                  <a:pt x="238" y="166"/>
                </a:cubicBezTo>
                <a:cubicBezTo>
                  <a:pt x="242" y="170"/>
                  <a:pt x="243" y="177"/>
                  <a:pt x="241" y="187"/>
                </a:cubicBezTo>
                <a:cubicBezTo>
                  <a:pt x="240" y="188"/>
                  <a:pt x="240" y="189"/>
                  <a:pt x="240" y="190"/>
                </a:cubicBezTo>
                <a:cubicBezTo>
                  <a:pt x="240" y="190"/>
                  <a:pt x="240" y="191"/>
                  <a:pt x="240" y="192"/>
                </a:cubicBezTo>
                <a:lnTo>
                  <a:pt x="240" y="202"/>
                </a:lnTo>
                <a:cubicBezTo>
                  <a:pt x="239" y="227"/>
                  <a:pt x="238" y="248"/>
                  <a:pt x="235" y="262"/>
                </a:cubicBezTo>
                <a:cubicBezTo>
                  <a:pt x="247" y="296"/>
                  <a:pt x="262" y="321"/>
                  <a:pt x="281" y="337"/>
                </a:cubicBezTo>
                <a:cubicBezTo>
                  <a:pt x="288" y="342"/>
                  <a:pt x="297" y="348"/>
                  <a:pt x="308" y="355"/>
                </a:cubicBezTo>
                <a:cubicBezTo>
                  <a:pt x="320" y="353"/>
                  <a:pt x="333" y="352"/>
                  <a:pt x="345" y="352"/>
                </a:cubicBezTo>
                <a:cubicBezTo>
                  <a:pt x="376" y="352"/>
                  <a:pt x="394" y="358"/>
                  <a:pt x="400" y="368"/>
                </a:cubicBezTo>
                <a:cubicBezTo>
                  <a:pt x="404" y="372"/>
                  <a:pt x="404" y="378"/>
                  <a:pt x="401" y="384"/>
                </a:cubicBezTo>
                <a:cubicBezTo>
                  <a:pt x="401" y="384"/>
                  <a:pt x="401" y="385"/>
                  <a:pt x="401" y="385"/>
                </a:cubicBezTo>
                <a:lnTo>
                  <a:pt x="400" y="385"/>
                </a:lnTo>
                <a:lnTo>
                  <a:pt x="400" y="386"/>
                </a:lnTo>
                <a:cubicBezTo>
                  <a:pt x="399" y="394"/>
                  <a:pt x="391" y="398"/>
                  <a:pt x="378" y="398"/>
                </a:cubicBezTo>
                <a:cubicBezTo>
                  <a:pt x="368" y="398"/>
                  <a:pt x="356" y="396"/>
                  <a:pt x="342" y="391"/>
                </a:cubicBezTo>
                <a:cubicBezTo>
                  <a:pt x="328" y="387"/>
                  <a:pt x="314" y="382"/>
                  <a:pt x="301" y="375"/>
                </a:cubicBezTo>
                <a:cubicBezTo>
                  <a:pt x="254" y="380"/>
                  <a:pt x="213" y="389"/>
                  <a:pt x="177" y="401"/>
                </a:cubicBezTo>
                <a:cubicBezTo>
                  <a:pt x="145" y="456"/>
                  <a:pt x="120" y="483"/>
                  <a:pt x="101" y="483"/>
                </a:cubicBezTo>
                <a:cubicBezTo>
                  <a:pt x="98" y="483"/>
                  <a:pt x="95" y="483"/>
                  <a:pt x="92" y="481"/>
                </a:cubicBezTo>
                <a:lnTo>
                  <a:pt x="85" y="477"/>
                </a:lnTo>
                <a:cubicBezTo>
                  <a:pt x="84" y="477"/>
                  <a:pt x="84" y="477"/>
                  <a:pt x="83" y="476"/>
                </a:cubicBezTo>
                <a:cubicBezTo>
                  <a:pt x="81" y="474"/>
                  <a:pt x="80" y="470"/>
                  <a:pt x="81" y="465"/>
                </a:cubicBezTo>
                <a:close/>
                <a:moveTo>
                  <a:pt x="100" y="466"/>
                </a:moveTo>
                <a:cubicBezTo>
                  <a:pt x="111" y="461"/>
                  <a:pt x="125" y="445"/>
                  <a:pt x="143" y="417"/>
                </a:cubicBezTo>
                <a:cubicBezTo>
                  <a:pt x="132" y="425"/>
                  <a:pt x="123" y="434"/>
                  <a:pt x="116" y="443"/>
                </a:cubicBezTo>
                <a:cubicBezTo>
                  <a:pt x="108" y="452"/>
                  <a:pt x="103" y="460"/>
                  <a:pt x="100" y="466"/>
                </a:cubicBezTo>
                <a:close/>
                <a:moveTo>
                  <a:pt x="186" y="385"/>
                </a:moveTo>
                <a:cubicBezTo>
                  <a:pt x="215" y="374"/>
                  <a:pt x="244" y="365"/>
                  <a:pt x="276" y="359"/>
                </a:cubicBezTo>
                <a:cubicBezTo>
                  <a:pt x="275" y="359"/>
                  <a:pt x="274" y="358"/>
                  <a:pt x="272" y="356"/>
                </a:cubicBezTo>
                <a:cubicBezTo>
                  <a:pt x="269" y="355"/>
                  <a:pt x="268" y="353"/>
                  <a:pt x="267" y="352"/>
                </a:cubicBezTo>
                <a:cubicBezTo>
                  <a:pt x="251" y="338"/>
                  <a:pt x="237" y="320"/>
                  <a:pt x="227" y="297"/>
                </a:cubicBezTo>
                <a:cubicBezTo>
                  <a:pt x="221" y="315"/>
                  <a:pt x="212" y="335"/>
                  <a:pt x="200" y="359"/>
                </a:cubicBezTo>
                <a:cubicBezTo>
                  <a:pt x="194" y="370"/>
                  <a:pt x="189" y="379"/>
                  <a:pt x="186" y="385"/>
                </a:cubicBezTo>
                <a:close/>
                <a:moveTo>
                  <a:pt x="225" y="218"/>
                </a:moveTo>
                <a:cubicBezTo>
                  <a:pt x="225" y="217"/>
                  <a:pt x="226" y="212"/>
                  <a:pt x="227" y="204"/>
                </a:cubicBezTo>
                <a:cubicBezTo>
                  <a:pt x="227" y="204"/>
                  <a:pt x="228" y="199"/>
                  <a:pt x="229" y="191"/>
                </a:cubicBezTo>
                <a:cubicBezTo>
                  <a:pt x="229" y="190"/>
                  <a:pt x="230" y="189"/>
                  <a:pt x="230" y="188"/>
                </a:cubicBezTo>
                <a:cubicBezTo>
                  <a:pt x="230" y="188"/>
                  <a:pt x="230" y="188"/>
                  <a:pt x="230" y="188"/>
                </a:cubicBezTo>
                <a:cubicBezTo>
                  <a:pt x="230" y="187"/>
                  <a:pt x="230" y="187"/>
                  <a:pt x="230" y="187"/>
                </a:cubicBezTo>
                <a:cubicBezTo>
                  <a:pt x="230" y="187"/>
                  <a:pt x="230" y="187"/>
                  <a:pt x="230" y="187"/>
                </a:cubicBezTo>
                <a:cubicBezTo>
                  <a:pt x="230" y="182"/>
                  <a:pt x="228" y="178"/>
                  <a:pt x="226" y="175"/>
                </a:cubicBezTo>
                <a:cubicBezTo>
                  <a:pt x="226" y="176"/>
                  <a:pt x="226" y="176"/>
                  <a:pt x="225" y="176"/>
                </a:cubicBezTo>
                <a:lnTo>
                  <a:pt x="225" y="177"/>
                </a:lnTo>
                <a:cubicBezTo>
                  <a:pt x="222" y="185"/>
                  <a:pt x="222" y="199"/>
                  <a:pt x="225" y="218"/>
                </a:cubicBezTo>
                <a:close/>
                <a:moveTo>
                  <a:pt x="322" y="161"/>
                </a:moveTo>
                <a:lnTo>
                  <a:pt x="441" y="161"/>
                </a:lnTo>
                <a:cubicBezTo>
                  <a:pt x="439" y="155"/>
                  <a:pt x="436" y="151"/>
                  <a:pt x="434" y="148"/>
                </a:cubicBezTo>
                <a:lnTo>
                  <a:pt x="335" y="49"/>
                </a:lnTo>
                <a:cubicBezTo>
                  <a:pt x="333" y="47"/>
                  <a:pt x="328" y="45"/>
                  <a:pt x="322" y="42"/>
                </a:cubicBezTo>
                <a:lnTo>
                  <a:pt x="322" y="161"/>
                </a:lnTo>
                <a:close/>
                <a:moveTo>
                  <a:pt x="346" y="372"/>
                </a:moveTo>
                <a:cubicBezTo>
                  <a:pt x="362" y="378"/>
                  <a:pt x="375" y="381"/>
                  <a:pt x="385" y="381"/>
                </a:cubicBezTo>
                <a:cubicBezTo>
                  <a:pt x="388" y="381"/>
                  <a:pt x="390" y="381"/>
                  <a:pt x="390" y="381"/>
                </a:cubicBezTo>
                <a:cubicBezTo>
                  <a:pt x="390" y="381"/>
                  <a:pt x="390" y="380"/>
                  <a:pt x="390" y="380"/>
                </a:cubicBezTo>
                <a:cubicBezTo>
                  <a:pt x="385" y="375"/>
                  <a:pt x="370" y="372"/>
                  <a:pt x="346" y="372"/>
                </a:cubicBezTo>
                <a:close/>
              </a:path>
            </a:pathLst>
          </a:custGeom>
          <a:solidFill>
            <a:srgbClr val="0D5893"/>
          </a:solidFill>
          <a:ln w="0">
            <a:solidFill>
              <a:srgbClr val="0D589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1360489" y="1425813"/>
            <a:ext cx="3744923" cy="646331"/>
          </a:xfrm>
          <a:prstGeom prst="rect">
            <a:avLst/>
          </a:prstGeom>
          <a:noFill/>
        </p:spPr>
        <p:txBody>
          <a:bodyPr wrap="square" rtlCol="0">
            <a:spAutoFit/>
          </a:bodyPr>
          <a:lstStyle/>
          <a:p>
            <a:r>
              <a:rPr lang="de-DE" dirty="0"/>
              <a:t>Leitfaden für </a:t>
            </a:r>
            <a:br>
              <a:rPr lang="de-DE" dirty="0"/>
            </a:br>
            <a:r>
              <a:rPr lang="de-DE" dirty="0"/>
              <a:t>kollaborierende Robotersysteme</a:t>
            </a:r>
          </a:p>
        </p:txBody>
      </p:sp>
      <p:sp>
        <p:nvSpPr>
          <p:cNvPr id="10" name="Freeform 449">
            <a:hlinkClick r:id="rId5" action="ppaction://hlinkfile"/>
          </p:cNvPr>
          <p:cNvSpPr>
            <a:spLocks noEditPoints="1"/>
          </p:cNvSpPr>
          <p:nvPr/>
        </p:nvSpPr>
        <p:spPr bwMode="auto">
          <a:xfrm>
            <a:off x="4396955" y="1440120"/>
            <a:ext cx="225337" cy="287577"/>
          </a:xfrm>
          <a:custGeom>
            <a:avLst/>
            <a:gdLst>
              <a:gd name="T0" fmla="*/ 0 w 484"/>
              <a:gd name="T1" fmla="*/ 30 h 564"/>
              <a:gd name="T2" fmla="*/ 30 w 484"/>
              <a:gd name="T3" fmla="*/ 0 h 564"/>
              <a:gd name="T4" fmla="*/ 340 w 484"/>
              <a:gd name="T5" fmla="*/ 6 h 564"/>
              <a:gd name="T6" fmla="*/ 462 w 484"/>
              <a:gd name="T7" fmla="*/ 119 h 564"/>
              <a:gd name="T8" fmla="*/ 484 w 484"/>
              <a:gd name="T9" fmla="*/ 171 h 564"/>
              <a:gd name="T10" fmla="*/ 475 w 484"/>
              <a:gd name="T11" fmla="*/ 555 h 564"/>
              <a:gd name="T12" fmla="*/ 30 w 484"/>
              <a:gd name="T13" fmla="*/ 564 h 564"/>
              <a:gd name="T14" fmla="*/ 0 w 484"/>
              <a:gd name="T15" fmla="*/ 534 h 564"/>
              <a:gd name="T16" fmla="*/ 443 w 484"/>
              <a:gd name="T17" fmla="*/ 524 h 564"/>
              <a:gd name="T18" fmla="*/ 312 w 484"/>
              <a:gd name="T19" fmla="*/ 201 h 564"/>
              <a:gd name="T20" fmla="*/ 282 w 484"/>
              <a:gd name="T21" fmla="*/ 171 h 564"/>
              <a:gd name="T22" fmla="*/ 40 w 484"/>
              <a:gd name="T23" fmla="*/ 40 h 564"/>
              <a:gd name="T24" fmla="*/ 81 w 484"/>
              <a:gd name="T25" fmla="*/ 465 h 564"/>
              <a:gd name="T26" fmla="*/ 140 w 484"/>
              <a:gd name="T27" fmla="*/ 405 h 564"/>
              <a:gd name="T28" fmla="*/ 148 w 484"/>
              <a:gd name="T29" fmla="*/ 408 h 564"/>
              <a:gd name="T30" fmla="*/ 214 w 484"/>
              <a:gd name="T31" fmla="*/ 264 h 564"/>
              <a:gd name="T32" fmla="*/ 207 w 484"/>
              <a:gd name="T33" fmla="*/ 174 h 564"/>
              <a:gd name="T34" fmla="*/ 227 w 484"/>
              <a:gd name="T35" fmla="*/ 161 h 564"/>
              <a:gd name="T36" fmla="*/ 238 w 484"/>
              <a:gd name="T37" fmla="*/ 166 h 564"/>
              <a:gd name="T38" fmla="*/ 240 w 484"/>
              <a:gd name="T39" fmla="*/ 190 h 564"/>
              <a:gd name="T40" fmla="*/ 240 w 484"/>
              <a:gd name="T41" fmla="*/ 202 h 564"/>
              <a:gd name="T42" fmla="*/ 281 w 484"/>
              <a:gd name="T43" fmla="*/ 337 h 564"/>
              <a:gd name="T44" fmla="*/ 345 w 484"/>
              <a:gd name="T45" fmla="*/ 352 h 564"/>
              <a:gd name="T46" fmla="*/ 401 w 484"/>
              <a:gd name="T47" fmla="*/ 384 h 564"/>
              <a:gd name="T48" fmla="*/ 400 w 484"/>
              <a:gd name="T49" fmla="*/ 385 h 564"/>
              <a:gd name="T50" fmla="*/ 378 w 484"/>
              <a:gd name="T51" fmla="*/ 398 h 564"/>
              <a:gd name="T52" fmla="*/ 301 w 484"/>
              <a:gd name="T53" fmla="*/ 375 h 564"/>
              <a:gd name="T54" fmla="*/ 101 w 484"/>
              <a:gd name="T55" fmla="*/ 483 h 564"/>
              <a:gd name="T56" fmla="*/ 85 w 484"/>
              <a:gd name="T57" fmla="*/ 477 h 564"/>
              <a:gd name="T58" fmla="*/ 81 w 484"/>
              <a:gd name="T59" fmla="*/ 465 h 564"/>
              <a:gd name="T60" fmla="*/ 143 w 484"/>
              <a:gd name="T61" fmla="*/ 417 h 564"/>
              <a:gd name="T62" fmla="*/ 100 w 484"/>
              <a:gd name="T63" fmla="*/ 466 h 564"/>
              <a:gd name="T64" fmla="*/ 276 w 484"/>
              <a:gd name="T65" fmla="*/ 359 h 564"/>
              <a:gd name="T66" fmla="*/ 267 w 484"/>
              <a:gd name="T67" fmla="*/ 352 h 564"/>
              <a:gd name="T68" fmla="*/ 200 w 484"/>
              <a:gd name="T69" fmla="*/ 359 h 564"/>
              <a:gd name="T70" fmla="*/ 225 w 484"/>
              <a:gd name="T71" fmla="*/ 218 h 564"/>
              <a:gd name="T72" fmla="*/ 229 w 484"/>
              <a:gd name="T73" fmla="*/ 191 h 564"/>
              <a:gd name="T74" fmla="*/ 230 w 484"/>
              <a:gd name="T75" fmla="*/ 188 h 564"/>
              <a:gd name="T76" fmla="*/ 230 w 484"/>
              <a:gd name="T77" fmla="*/ 187 h 564"/>
              <a:gd name="T78" fmla="*/ 225 w 484"/>
              <a:gd name="T79" fmla="*/ 176 h 564"/>
              <a:gd name="T80" fmla="*/ 225 w 484"/>
              <a:gd name="T81" fmla="*/ 218 h 564"/>
              <a:gd name="T82" fmla="*/ 441 w 484"/>
              <a:gd name="T83" fmla="*/ 161 h 564"/>
              <a:gd name="T84" fmla="*/ 335 w 484"/>
              <a:gd name="T85" fmla="*/ 49 h 564"/>
              <a:gd name="T86" fmla="*/ 322 w 484"/>
              <a:gd name="T87" fmla="*/ 161 h 564"/>
              <a:gd name="T88" fmla="*/ 385 w 484"/>
              <a:gd name="T89" fmla="*/ 381 h 564"/>
              <a:gd name="T90" fmla="*/ 390 w 484"/>
              <a:gd name="T91" fmla="*/ 38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564">
                <a:moveTo>
                  <a:pt x="0" y="534"/>
                </a:moveTo>
                <a:lnTo>
                  <a:pt x="0" y="30"/>
                </a:lnTo>
                <a:cubicBezTo>
                  <a:pt x="0" y="21"/>
                  <a:pt x="3" y="14"/>
                  <a:pt x="9" y="8"/>
                </a:cubicBezTo>
                <a:cubicBezTo>
                  <a:pt x="15" y="3"/>
                  <a:pt x="22" y="0"/>
                  <a:pt x="30" y="0"/>
                </a:cubicBezTo>
                <a:lnTo>
                  <a:pt x="312" y="0"/>
                </a:lnTo>
                <a:cubicBezTo>
                  <a:pt x="321" y="0"/>
                  <a:pt x="330" y="2"/>
                  <a:pt x="340" y="6"/>
                </a:cubicBezTo>
                <a:cubicBezTo>
                  <a:pt x="350" y="10"/>
                  <a:pt x="358" y="15"/>
                  <a:pt x="364" y="21"/>
                </a:cubicBezTo>
                <a:lnTo>
                  <a:pt x="462" y="119"/>
                </a:lnTo>
                <a:cubicBezTo>
                  <a:pt x="468" y="125"/>
                  <a:pt x="473" y="133"/>
                  <a:pt x="477" y="143"/>
                </a:cubicBezTo>
                <a:cubicBezTo>
                  <a:pt x="482" y="153"/>
                  <a:pt x="484" y="163"/>
                  <a:pt x="484" y="171"/>
                </a:cubicBezTo>
                <a:lnTo>
                  <a:pt x="484" y="534"/>
                </a:lnTo>
                <a:cubicBezTo>
                  <a:pt x="484" y="542"/>
                  <a:pt x="481" y="549"/>
                  <a:pt x="475" y="555"/>
                </a:cubicBezTo>
                <a:cubicBezTo>
                  <a:pt x="469" y="561"/>
                  <a:pt x="462" y="564"/>
                  <a:pt x="453" y="564"/>
                </a:cubicBezTo>
                <a:lnTo>
                  <a:pt x="30" y="564"/>
                </a:lnTo>
                <a:cubicBezTo>
                  <a:pt x="22" y="564"/>
                  <a:pt x="15" y="561"/>
                  <a:pt x="9" y="555"/>
                </a:cubicBezTo>
                <a:cubicBezTo>
                  <a:pt x="3" y="549"/>
                  <a:pt x="0" y="542"/>
                  <a:pt x="0" y="534"/>
                </a:cubicBezTo>
                <a:close/>
                <a:moveTo>
                  <a:pt x="40" y="524"/>
                </a:moveTo>
                <a:lnTo>
                  <a:pt x="443" y="524"/>
                </a:lnTo>
                <a:lnTo>
                  <a:pt x="443" y="201"/>
                </a:lnTo>
                <a:lnTo>
                  <a:pt x="312" y="201"/>
                </a:lnTo>
                <a:cubicBezTo>
                  <a:pt x="304" y="201"/>
                  <a:pt x="297" y="198"/>
                  <a:pt x="291" y="192"/>
                </a:cubicBezTo>
                <a:cubicBezTo>
                  <a:pt x="285" y="187"/>
                  <a:pt x="282" y="179"/>
                  <a:pt x="282" y="171"/>
                </a:cubicBezTo>
                <a:lnTo>
                  <a:pt x="282" y="40"/>
                </a:lnTo>
                <a:lnTo>
                  <a:pt x="40" y="40"/>
                </a:lnTo>
                <a:lnTo>
                  <a:pt x="40" y="524"/>
                </a:lnTo>
                <a:close/>
                <a:moveTo>
                  <a:pt x="81" y="465"/>
                </a:moveTo>
                <a:cubicBezTo>
                  <a:pt x="83" y="456"/>
                  <a:pt x="89" y="447"/>
                  <a:pt x="98" y="436"/>
                </a:cubicBezTo>
                <a:cubicBezTo>
                  <a:pt x="108" y="425"/>
                  <a:pt x="122" y="415"/>
                  <a:pt x="140" y="405"/>
                </a:cubicBezTo>
                <a:cubicBezTo>
                  <a:pt x="143" y="403"/>
                  <a:pt x="145" y="404"/>
                  <a:pt x="147" y="407"/>
                </a:cubicBezTo>
                <a:cubicBezTo>
                  <a:pt x="148" y="408"/>
                  <a:pt x="148" y="408"/>
                  <a:pt x="148" y="408"/>
                </a:cubicBezTo>
                <a:cubicBezTo>
                  <a:pt x="159" y="391"/>
                  <a:pt x="170" y="370"/>
                  <a:pt x="182" y="346"/>
                </a:cubicBezTo>
                <a:cubicBezTo>
                  <a:pt x="196" y="318"/>
                  <a:pt x="207" y="290"/>
                  <a:pt x="214" y="264"/>
                </a:cubicBezTo>
                <a:cubicBezTo>
                  <a:pt x="209" y="247"/>
                  <a:pt x="206" y="230"/>
                  <a:pt x="205" y="214"/>
                </a:cubicBezTo>
                <a:cubicBezTo>
                  <a:pt x="203" y="197"/>
                  <a:pt x="204" y="184"/>
                  <a:pt x="207" y="174"/>
                </a:cubicBezTo>
                <a:cubicBezTo>
                  <a:pt x="209" y="165"/>
                  <a:pt x="213" y="161"/>
                  <a:pt x="220" y="161"/>
                </a:cubicBezTo>
                <a:lnTo>
                  <a:pt x="227" y="161"/>
                </a:lnTo>
                <a:lnTo>
                  <a:pt x="227" y="161"/>
                </a:lnTo>
                <a:cubicBezTo>
                  <a:pt x="232" y="161"/>
                  <a:pt x="235" y="162"/>
                  <a:pt x="238" y="166"/>
                </a:cubicBezTo>
                <a:cubicBezTo>
                  <a:pt x="242" y="170"/>
                  <a:pt x="243" y="177"/>
                  <a:pt x="241" y="187"/>
                </a:cubicBezTo>
                <a:cubicBezTo>
                  <a:pt x="240" y="188"/>
                  <a:pt x="240" y="189"/>
                  <a:pt x="240" y="190"/>
                </a:cubicBezTo>
                <a:cubicBezTo>
                  <a:pt x="240" y="190"/>
                  <a:pt x="240" y="191"/>
                  <a:pt x="240" y="192"/>
                </a:cubicBezTo>
                <a:lnTo>
                  <a:pt x="240" y="202"/>
                </a:lnTo>
                <a:cubicBezTo>
                  <a:pt x="239" y="227"/>
                  <a:pt x="238" y="248"/>
                  <a:pt x="235" y="262"/>
                </a:cubicBezTo>
                <a:cubicBezTo>
                  <a:pt x="247" y="296"/>
                  <a:pt x="262" y="321"/>
                  <a:pt x="281" y="337"/>
                </a:cubicBezTo>
                <a:cubicBezTo>
                  <a:pt x="288" y="342"/>
                  <a:pt x="297" y="348"/>
                  <a:pt x="308" y="355"/>
                </a:cubicBezTo>
                <a:cubicBezTo>
                  <a:pt x="320" y="353"/>
                  <a:pt x="333" y="352"/>
                  <a:pt x="345" y="352"/>
                </a:cubicBezTo>
                <a:cubicBezTo>
                  <a:pt x="376" y="352"/>
                  <a:pt x="394" y="358"/>
                  <a:pt x="400" y="368"/>
                </a:cubicBezTo>
                <a:cubicBezTo>
                  <a:pt x="404" y="372"/>
                  <a:pt x="404" y="378"/>
                  <a:pt x="401" y="384"/>
                </a:cubicBezTo>
                <a:cubicBezTo>
                  <a:pt x="401" y="384"/>
                  <a:pt x="401" y="385"/>
                  <a:pt x="401" y="385"/>
                </a:cubicBezTo>
                <a:lnTo>
                  <a:pt x="400" y="385"/>
                </a:lnTo>
                <a:lnTo>
                  <a:pt x="400" y="386"/>
                </a:lnTo>
                <a:cubicBezTo>
                  <a:pt x="399" y="394"/>
                  <a:pt x="391" y="398"/>
                  <a:pt x="378" y="398"/>
                </a:cubicBezTo>
                <a:cubicBezTo>
                  <a:pt x="368" y="398"/>
                  <a:pt x="356" y="396"/>
                  <a:pt x="342" y="391"/>
                </a:cubicBezTo>
                <a:cubicBezTo>
                  <a:pt x="328" y="387"/>
                  <a:pt x="314" y="382"/>
                  <a:pt x="301" y="375"/>
                </a:cubicBezTo>
                <a:cubicBezTo>
                  <a:pt x="254" y="380"/>
                  <a:pt x="213" y="389"/>
                  <a:pt x="177" y="401"/>
                </a:cubicBezTo>
                <a:cubicBezTo>
                  <a:pt x="145" y="456"/>
                  <a:pt x="120" y="483"/>
                  <a:pt x="101" y="483"/>
                </a:cubicBezTo>
                <a:cubicBezTo>
                  <a:pt x="98" y="483"/>
                  <a:pt x="95" y="483"/>
                  <a:pt x="92" y="481"/>
                </a:cubicBezTo>
                <a:lnTo>
                  <a:pt x="85" y="477"/>
                </a:lnTo>
                <a:cubicBezTo>
                  <a:pt x="84" y="477"/>
                  <a:pt x="84" y="477"/>
                  <a:pt x="83" y="476"/>
                </a:cubicBezTo>
                <a:cubicBezTo>
                  <a:pt x="81" y="474"/>
                  <a:pt x="80" y="470"/>
                  <a:pt x="81" y="465"/>
                </a:cubicBezTo>
                <a:close/>
                <a:moveTo>
                  <a:pt x="100" y="466"/>
                </a:moveTo>
                <a:cubicBezTo>
                  <a:pt x="111" y="461"/>
                  <a:pt x="125" y="445"/>
                  <a:pt x="143" y="417"/>
                </a:cubicBezTo>
                <a:cubicBezTo>
                  <a:pt x="132" y="425"/>
                  <a:pt x="123" y="434"/>
                  <a:pt x="116" y="443"/>
                </a:cubicBezTo>
                <a:cubicBezTo>
                  <a:pt x="108" y="452"/>
                  <a:pt x="103" y="460"/>
                  <a:pt x="100" y="466"/>
                </a:cubicBezTo>
                <a:close/>
                <a:moveTo>
                  <a:pt x="186" y="385"/>
                </a:moveTo>
                <a:cubicBezTo>
                  <a:pt x="215" y="374"/>
                  <a:pt x="244" y="365"/>
                  <a:pt x="276" y="359"/>
                </a:cubicBezTo>
                <a:cubicBezTo>
                  <a:pt x="275" y="359"/>
                  <a:pt x="274" y="358"/>
                  <a:pt x="272" y="356"/>
                </a:cubicBezTo>
                <a:cubicBezTo>
                  <a:pt x="269" y="355"/>
                  <a:pt x="268" y="353"/>
                  <a:pt x="267" y="352"/>
                </a:cubicBezTo>
                <a:cubicBezTo>
                  <a:pt x="251" y="338"/>
                  <a:pt x="237" y="320"/>
                  <a:pt x="227" y="297"/>
                </a:cubicBezTo>
                <a:cubicBezTo>
                  <a:pt x="221" y="315"/>
                  <a:pt x="212" y="335"/>
                  <a:pt x="200" y="359"/>
                </a:cubicBezTo>
                <a:cubicBezTo>
                  <a:pt x="194" y="370"/>
                  <a:pt x="189" y="379"/>
                  <a:pt x="186" y="385"/>
                </a:cubicBezTo>
                <a:close/>
                <a:moveTo>
                  <a:pt x="225" y="218"/>
                </a:moveTo>
                <a:cubicBezTo>
                  <a:pt x="225" y="217"/>
                  <a:pt x="226" y="212"/>
                  <a:pt x="227" y="204"/>
                </a:cubicBezTo>
                <a:cubicBezTo>
                  <a:pt x="227" y="204"/>
                  <a:pt x="228" y="199"/>
                  <a:pt x="229" y="191"/>
                </a:cubicBezTo>
                <a:cubicBezTo>
                  <a:pt x="229" y="190"/>
                  <a:pt x="230" y="189"/>
                  <a:pt x="230" y="188"/>
                </a:cubicBezTo>
                <a:cubicBezTo>
                  <a:pt x="230" y="188"/>
                  <a:pt x="230" y="188"/>
                  <a:pt x="230" y="188"/>
                </a:cubicBezTo>
                <a:cubicBezTo>
                  <a:pt x="230" y="187"/>
                  <a:pt x="230" y="187"/>
                  <a:pt x="230" y="187"/>
                </a:cubicBezTo>
                <a:cubicBezTo>
                  <a:pt x="230" y="187"/>
                  <a:pt x="230" y="187"/>
                  <a:pt x="230" y="187"/>
                </a:cubicBezTo>
                <a:cubicBezTo>
                  <a:pt x="230" y="182"/>
                  <a:pt x="228" y="178"/>
                  <a:pt x="226" y="175"/>
                </a:cubicBezTo>
                <a:cubicBezTo>
                  <a:pt x="226" y="176"/>
                  <a:pt x="226" y="176"/>
                  <a:pt x="225" y="176"/>
                </a:cubicBezTo>
                <a:lnTo>
                  <a:pt x="225" y="177"/>
                </a:lnTo>
                <a:cubicBezTo>
                  <a:pt x="222" y="185"/>
                  <a:pt x="222" y="199"/>
                  <a:pt x="225" y="218"/>
                </a:cubicBezTo>
                <a:close/>
                <a:moveTo>
                  <a:pt x="322" y="161"/>
                </a:moveTo>
                <a:lnTo>
                  <a:pt x="441" y="161"/>
                </a:lnTo>
                <a:cubicBezTo>
                  <a:pt x="439" y="155"/>
                  <a:pt x="436" y="151"/>
                  <a:pt x="434" y="148"/>
                </a:cubicBezTo>
                <a:lnTo>
                  <a:pt x="335" y="49"/>
                </a:lnTo>
                <a:cubicBezTo>
                  <a:pt x="333" y="47"/>
                  <a:pt x="328" y="45"/>
                  <a:pt x="322" y="42"/>
                </a:cubicBezTo>
                <a:lnTo>
                  <a:pt x="322" y="161"/>
                </a:lnTo>
                <a:close/>
                <a:moveTo>
                  <a:pt x="346" y="372"/>
                </a:moveTo>
                <a:cubicBezTo>
                  <a:pt x="362" y="378"/>
                  <a:pt x="375" y="381"/>
                  <a:pt x="385" y="381"/>
                </a:cubicBezTo>
                <a:cubicBezTo>
                  <a:pt x="388" y="381"/>
                  <a:pt x="390" y="381"/>
                  <a:pt x="390" y="381"/>
                </a:cubicBezTo>
                <a:cubicBezTo>
                  <a:pt x="390" y="381"/>
                  <a:pt x="390" y="380"/>
                  <a:pt x="390" y="380"/>
                </a:cubicBezTo>
                <a:cubicBezTo>
                  <a:pt x="385" y="375"/>
                  <a:pt x="370" y="372"/>
                  <a:pt x="346" y="372"/>
                </a:cubicBezTo>
                <a:close/>
              </a:path>
            </a:pathLst>
          </a:custGeom>
          <a:solidFill>
            <a:srgbClr val="0D5893"/>
          </a:solidFill>
          <a:ln w="0">
            <a:solidFill>
              <a:srgbClr val="0D589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Textfeld 10"/>
          <p:cNvSpPr txBox="1"/>
          <p:nvPr/>
        </p:nvSpPr>
        <p:spPr>
          <a:xfrm>
            <a:off x="4796177" y="1643454"/>
            <a:ext cx="3744923" cy="369332"/>
          </a:xfrm>
          <a:prstGeom prst="rect">
            <a:avLst/>
          </a:prstGeom>
          <a:noFill/>
        </p:spPr>
        <p:txBody>
          <a:bodyPr wrap="square" rtlCol="0">
            <a:spAutoFit/>
          </a:bodyPr>
          <a:lstStyle/>
          <a:p>
            <a:r>
              <a:rPr lang="de-DE" dirty="0"/>
              <a:t>DGUV – Information Industrieroboter</a:t>
            </a:r>
          </a:p>
        </p:txBody>
      </p:sp>
      <p:pic>
        <p:nvPicPr>
          <p:cNvPr id="12" name="Inhaltsplatzhalter 4"/>
          <p:cNvPicPr>
            <a:picLocks noChangeAspect="1"/>
          </p:cNvPicPr>
          <p:nvPr/>
        </p:nvPicPr>
        <p:blipFill rotWithShape="1">
          <a:blip r:embed="rId6"/>
          <a:srcRect t="46228"/>
          <a:stretch/>
        </p:blipFill>
        <p:spPr bwMode="auto">
          <a:xfrm>
            <a:off x="4731128" y="2403750"/>
            <a:ext cx="3166947" cy="219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Freeform 449">
            <a:hlinkClick r:id="rId7" action="ppaction://hlinkfile"/>
          </p:cNvPr>
          <p:cNvSpPr>
            <a:spLocks noEditPoints="1"/>
          </p:cNvSpPr>
          <p:nvPr/>
        </p:nvSpPr>
        <p:spPr bwMode="auto">
          <a:xfrm>
            <a:off x="6720567" y="1990758"/>
            <a:ext cx="205376" cy="272642"/>
          </a:xfrm>
          <a:custGeom>
            <a:avLst/>
            <a:gdLst>
              <a:gd name="T0" fmla="*/ 0 w 484"/>
              <a:gd name="T1" fmla="*/ 30 h 564"/>
              <a:gd name="T2" fmla="*/ 30 w 484"/>
              <a:gd name="T3" fmla="*/ 0 h 564"/>
              <a:gd name="T4" fmla="*/ 340 w 484"/>
              <a:gd name="T5" fmla="*/ 6 h 564"/>
              <a:gd name="T6" fmla="*/ 462 w 484"/>
              <a:gd name="T7" fmla="*/ 119 h 564"/>
              <a:gd name="T8" fmla="*/ 484 w 484"/>
              <a:gd name="T9" fmla="*/ 171 h 564"/>
              <a:gd name="T10" fmla="*/ 475 w 484"/>
              <a:gd name="T11" fmla="*/ 555 h 564"/>
              <a:gd name="T12" fmla="*/ 30 w 484"/>
              <a:gd name="T13" fmla="*/ 564 h 564"/>
              <a:gd name="T14" fmla="*/ 0 w 484"/>
              <a:gd name="T15" fmla="*/ 534 h 564"/>
              <a:gd name="T16" fmla="*/ 443 w 484"/>
              <a:gd name="T17" fmla="*/ 524 h 564"/>
              <a:gd name="T18" fmla="*/ 312 w 484"/>
              <a:gd name="T19" fmla="*/ 201 h 564"/>
              <a:gd name="T20" fmla="*/ 282 w 484"/>
              <a:gd name="T21" fmla="*/ 171 h 564"/>
              <a:gd name="T22" fmla="*/ 40 w 484"/>
              <a:gd name="T23" fmla="*/ 40 h 564"/>
              <a:gd name="T24" fmla="*/ 81 w 484"/>
              <a:gd name="T25" fmla="*/ 465 h 564"/>
              <a:gd name="T26" fmla="*/ 140 w 484"/>
              <a:gd name="T27" fmla="*/ 405 h 564"/>
              <a:gd name="T28" fmla="*/ 148 w 484"/>
              <a:gd name="T29" fmla="*/ 408 h 564"/>
              <a:gd name="T30" fmla="*/ 214 w 484"/>
              <a:gd name="T31" fmla="*/ 264 h 564"/>
              <a:gd name="T32" fmla="*/ 207 w 484"/>
              <a:gd name="T33" fmla="*/ 174 h 564"/>
              <a:gd name="T34" fmla="*/ 227 w 484"/>
              <a:gd name="T35" fmla="*/ 161 h 564"/>
              <a:gd name="T36" fmla="*/ 238 w 484"/>
              <a:gd name="T37" fmla="*/ 166 h 564"/>
              <a:gd name="T38" fmla="*/ 240 w 484"/>
              <a:gd name="T39" fmla="*/ 190 h 564"/>
              <a:gd name="T40" fmla="*/ 240 w 484"/>
              <a:gd name="T41" fmla="*/ 202 h 564"/>
              <a:gd name="T42" fmla="*/ 281 w 484"/>
              <a:gd name="T43" fmla="*/ 337 h 564"/>
              <a:gd name="T44" fmla="*/ 345 w 484"/>
              <a:gd name="T45" fmla="*/ 352 h 564"/>
              <a:gd name="T46" fmla="*/ 401 w 484"/>
              <a:gd name="T47" fmla="*/ 384 h 564"/>
              <a:gd name="T48" fmla="*/ 400 w 484"/>
              <a:gd name="T49" fmla="*/ 385 h 564"/>
              <a:gd name="T50" fmla="*/ 378 w 484"/>
              <a:gd name="T51" fmla="*/ 398 h 564"/>
              <a:gd name="T52" fmla="*/ 301 w 484"/>
              <a:gd name="T53" fmla="*/ 375 h 564"/>
              <a:gd name="T54" fmla="*/ 101 w 484"/>
              <a:gd name="T55" fmla="*/ 483 h 564"/>
              <a:gd name="T56" fmla="*/ 85 w 484"/>
              <a:gd name="T57" fmla="*/ 477 h 564"/>
              <a:gd name="T58" fmla="*/ 81 w 484"/>
              <a:gd name="T59" fmla="*/ 465 h 564"/>
              <a:gd name="T60" fmla="*/ 143 w 484"/>
              <a:gd name="T61" fmla="*/ 417 h 564"/>
              <a:gd name="T62" fmla="*/ 100 w 484"/>
              <a:gd name="T63" fmla="*/ 466 h 564"/>
              <a:gd name="T64" fmla="*/ 276 w 484"/>
              <a:gd name="T65" fmla="*/ 359 h 564"/>
              <a:gd name="T66" fmla="*/ 267 w 484"/>
              <a:gd name="T67" fmla="*/ 352 h 564"/>
              <a:gd name="T68" fmla="*/ 200 w 484"/>
              <a:gd name="T69" fmla="*/ 359 h 564"/>
              <a:gd name="T70" fmla="*/ 225 w 484"/>
              <a:gd name="T71" fmla="*/ 218 h 564"/>
              <a:gd name="T72" fmla="*/ 229 w 484"/>
              <a:gd name="T73" fmla="*/ 191 h 564"/>
              <a:gd name="T74" fmla="*/ 230 w 484"/>
              <a:gd name="T75" fmla="*/ 188 h 564"/>
              <a:gd name="T76" fmla="*/ 230 w 484"/>
              <a:gd name="T77" fmla="*/ 187 h 564"/>
              <a:gd name="T78" fmla="*/ 225 w 484"/>
              <a:gd name="T79" fmla="*/ 176 h 564"/>
              <a:gd name="T80" fmla="*/ 225 w 484"/>
              <a:gd name="T81" fmla="*/ 218 h 564"/>
              <a:gd name="T82" fmla="*/ 441 w 484"/>
              <a:gd name="T83" fmla="*/ 161 h 564"/>
              <a:gd name="T84" fmla="*/ 335 w 484"/>
              <a:gd name="T85" fmla="*/ 49 h 564"/>
              <a:gd name="T86" fmla="*/ 322 w 484"/>
              <a:gd name="T87" fmla="*/ 161 h 564"/>
              <a:gd name="T88" fmla="*/ 385 w 484"/>
              <a:gd name="T89" fmla="*/ 381 h 564"/>
              <a:gd name="T90" fmla="*/ 390 w 484"/>
              <a:gd name="T91" fmla="*/ 38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564">
                <a:moveTo>
                  <a:pt x="0" y="534"/>
                </a:moveTo>
                <a:lnTo>
                  <a:pt x="0" y="30"/>
                </a:lnTo>
                <a:cubicBezTo>
                  <a:pt x="0" y="21"/>
                  <a:pt x="3" y="14"/>
                  <a:pt x="9" y="8"/>
                </a:cubicBezTo>
                <a:cubicBezTo>
                  <a:pt x="15" y="3"/>
                  <a:pt x="22" y="0"/>
                  <a:pt x="30" y="0"/>
                </a:cubicBezTo>
                <a:lnTo>
                  <a:pt x="312" y="0"/>
                </a:lnTo>
                <a:cubicBezTo>
                  <a:pt x="321" y="0"/>
                  <a:pt x="330" y="2"/>
                  <a:pt x="340" y="6"/>
                </a:cubicBezTo>
                <a:cubicBezTo>
                  <a:pt x="350" y="10"/>
                  <a:pt x="358" y="15"/>
                  <a:pt x="364" y="21"/>
                </a:cubicBezTo>
                <a:lnTo>
                  <a:pt x="462" y="119"/>
                </a:lnTo>
                <a:cubicBezTo>
                  <a:pt x="468" y="125"/>
                  <a:pt x="473" y="133"/>
                  <a:pt x="477" y="143"/>
                </a:cubicBezTo>
                <a:cubicBezTo>
                  <a:pt x="482" y="153"/>
                  <a:pt x="484" y="163"/>
                  <a:pt x="484" y="171"/>
                </a:cubicBezTo>
                <a:lnTo>
                  <a:pt x="484" y="534"/>
                </a:lnTo>
                <a:cubicBezTo>
                  <a:pt x="484" y="542"/>
                  <a:pt x="481" y="549"/>
                  <a:pt x="475" y="555"/>
                </a:cubicBezTo>
                <a:cubicBezTo>
                  <a:pt x="469" y="561"/>
                  <a:pt x="462" y="564"/>
                  <a:pt x="453" y="564"/>
                </a:cubicBezTo>
                <a:lnTo>
                  <a:pt x="30" y="564"/>
                </a:lnTo>
                <a:cubicBezTo>
                  <a:pt x="22" y="564"/>
                  <a:pt x="15" y="561"/>
                  <a:pt x="9" y="555"/>
                </a:cubicBezTo>
                <a:cubicBezTo>
                  <a:pt x="3" y="549"/>
                  <a:pt x="0" y="542"/>
                  <a:pt x="0" y="534"/>
                </a:cubicBezTo>
                <a:close/>
                <a:moveTo>
                  <a:pt x="40" y="524"/>
                </a:moveTo>
                <a:lnTo>
                  <a:pt x="443" y="524"/>
                </a:lnTo>
                <a:lnTo>
                  <a:pt x="443" y="201"/>
                </a:lnTo>
                <a:lnTo>
                  <a:pt x="312" y="201"/>
                </a:lnTo>
                <a:cubicBezTo>
                  <a:pt x="304" y="201"/>
                  <a:pt x="297" y="198"/>
                  <a:pt x="291" y="192"/>
                </a:cubicBezTo>
                <a:cubicBezTo>
                  <a:pt x="285" y="187"/>
                  <a:pt x="282" y="179"/>
                  <a:pt x="282" y="171"/>
                </a:cubicBezTo>
                <a:lnTo>
                  <a:pt x="282" y="40"/>
                </a:lnTo>
                <a:lnTo>
                  <a:pt x="40" y="40"/>
                </a:lnTo>
                <a:lnTo>
                  <a:pt x="40" y="524"/>
                </a:lnTo>
                <a:close/>
                <a:moveTo>
                  <a:pt x="81" y="465"/>
                </a:moveTo>
                <a:cubicBezTo>
                  <a:pt x="83" y="456"/>
                  <a:pt x="89" y="447"/>
                  <a:pt x="98" y="436"/>
                </a:cubicBezTo>
                <a:cubicBezTo>
                  <a:pt x="108" y="425"/>
                  <a:pt x="122" y="415"/>
                  <a:pt x="140" y="405"/>
                </a:cubicBezTo>
                <a:cubicBezTo>
                  <a:pt x="143" y="403"/>
                  <a:pt x="145" y="404"/>
                  <a:pt x="147" y="407"/>
                </a:cubicBezTo>
                <a:cubicBezTo>
                  <a:pt x="148" y="408"/>
                  <a:pt x="148" y="408"/>
                  <a:pt x="148" y="408"/>
                </a:cubicBezTo>
                <a:cubicBezTo>
                  <a:pt x="159" y="391"/>
                  <a:pt x="170" y="370"/>
                  <a:pt x="182" y="346"/>
                </a:cubicBezTo>
                <a:cubicBezTo>
                  <a:pt x="196" y="318"/>
                  <a:pt x="207" y="290"/>
                  <a:pt x="214" y="264"/>
                </a:cubicBezTo>
                <a:cubicBezTo>
                  <a:pt x="209" y="247"/>
                  <a:pt x="206" y="230"/>
                  <a:pt x="205" y="214"/>
                </a:cubicBezTo>
                <a:cubicBezTo>
                  <a:pt x="203" y="197"/>
                  <a:pt x="204" y="184"/>
                  <a:pt x="207" y="174"/>
                </a:cubicBezTo>
                <a:cubicBezTo>
                  <a:pt x="209" y="165"/>
                  <a:pt x="213" y="161"/>
                  <a:pt x="220" y="161"/>
                </a:cubicBezTo>
                <a:lnTo>
                  <a:pt x="227" y="161"/>
                </a:lnTo>
                <a:lnTo>
                  <a:pt x="227" y="161"/>
                </a:lnTo>
                <a:cubicBezTo>
                  <a:pt x="232" y="161"/>
                  <a:pt x="235" y="162"/>
                  <a:pt x="238" y="166"/>
                </a:cubicBezTo>
                <a:cubicBezTo>
                  <a:pt x="242" y="170"/>
                  <a:pt x="243" y="177"/>
                  <a:pt x="241" y="187"/>
                </a:cubicBezTo>
                <a:cubicBezTo>
                  <a:pt x="240" y="188"/>
                  <a:pt x="240" y="189"/>
                  <a:pt x="240" y="190"/>
                </a:cubicBezTo>
                <a:cubicBezTo>
                  <a:pt x="240" y="190"/>
                  <a:pt x="240" y="191"/>
                  <a:pt x="240" y="192"/>
                </a:cubicBezTo>
                <a:lnTo>
                  <a:pt x="240" y="202"/>
                </a:lnTo>
                <a:cubicBezTo>
                  <a:pt x="239" y="227"/>
                  <a:pt x="238" y="248"/>
                  <a:pt x="235" y="262"/>
                </a:cubicBezTo>
                <a:cubicBezTo>
                  <a:pt x="247" y="296"/>
                  <a:pt x="262" y="321"/>
                  <a:pt x="281" y="337"/>
                </a:cubicBezTo>
                <a:cubicBezTo>
                  <a:pt x="288" y="342"/>
                  <a:pt x="297" y="348"/>
                  <a:pt x="308" y="355"/>
                </a:cubicBezTo>
                <a:cubicBezTo>
                  <a:pt x="320" y="353"/>
                  <a:pt x="333" y="352"/>
                  <a:pt x="345" y="352"/>
                </a:cubicBezTo>
                <a:cubicBezTo>
                  <a:pt x="376" y="352"/>
                  <a:pt x="394" y="358"/>
                  <a:pt x="400" y="368"/>
                </a:cubicBezTo>
                <a:cubicBezTo>
                  <a:pt x="404" y="372"/>
                  <a:pt x="404" y="378"/>
                  <a:pt x="401" y="384"/>
                </a:cubicBezTo>
                <a:cubicBezTo>
                  <a:pt x="401" y="384"/>
                  <a:pt x="401" y="385"/>
                  <a:pt x="401" y="385"/>
                </a:cubicBezTo>
                <a:lnTo>
                  <a:pt x="400" y="385"/>
                </a:lnTo>
                <a:lnTo>
                  <a:pt x="400" y="386"/>
                </a:lnTo>
                <a:cubicBezTo>
                  <a:pt x="399" y="394"/>
                  <a:pt x="391" y="398"/>
                  <a:pt x="378" y="398"/>
                </a:cubicBezTo>
                <a:cubicBezTo>
                  <a:pt x="368" y="398"/>
                  <a:pt x="356" y="396"/>
                  <a:pt x="342" y="391"/>
                </a:cubicBezTo>
                <a:cubicBezTo>
                  <a:pt x="328" y="387"/>
                  <a:pt x="314" y="382"/>
                  <a:pt x="301" y="375"/>
                </a:cubicBezTo>
                <a:cubicBezTo>
                  <a:pt x="254" y="380"/>
                  <a:pt x="213" y="389"/>
                  <a:pt x="177" y="401"/>
                </a:cubicBezTo>
                <a:cubicBezTo>
                  <a:pt x="145" y="456"/>
                  <a:pt x="120" y="483"/>
                  <a:pt x="101" y="483"/>
                </a:cubicBezTo>
                <a:cubicBezTo>
                  <a:pt x="98" y="483"/>
                  <a:pt x="95" y="483"/>
                  <a:pt x="92" y="481"/>
                </a:cubicBezTo>
                <a:lnTo>
                  <a:pt x="85" y="477"/>
                </a:lnTo>
                <a:cubicBezTo>
                  <a:pt x="84" y="477"/>
                  <a:pt x="84" y="477"/>
                  <a:pt x="83" y="476"/>
                </a:cubicBezTo>
                <a:cubicBezTo>
                  <a:pt x="81" y="474"/>
                  <a:pt x="80" y="470"/>
                  <a:pt x="81" y="465"/>
                </a:cubicBezTo>
                <a:close/>
                <a:moveTo>
                  <a:pt x="100" y="466"/>
                </a:moveTo>
                <a:cubicBezTo>
                  <a:pt x="111" y="461"/>
                  <a:pt x="125" y="445"/>
                  <a:pt x="143" y="417"/>
                </a:cubicBezTo>
                <a:cubicBezTo>
                  <a:pt x="132" y="425"/>
                  <a:pt x="123" y="434"/>
                  <a:pt x="116" y="443"/>
                </a:cubicBezTo>
                <a:cubicBezTo>
                  <a:pt x="108" y="452"/>
                  <a:pt x="103" y="460"/>
                  <a:pt x="100" y="466"/>
                </a:cubicBezTo>
                <a:close/>
                <a:moveTo>
                  <a:pt x="186" y="385"/>
                </a:moveTo>
                <a:cubicBezTo>
                  <a:pt x="215" y="374"/>
                  <a:pt x="244" y="365"/>
                  <a:pt x="276" y="359"/>
                </a:cubicBezTo>
                <a:cubicBezTo>
                  <a:pt x="275" y="359"/>
                  <a:pt x="274" y="358"/>
                  <a:pt x="272" y="356"/>
                </a:cubicBezTo>
                <a:cubicBezTo>
                  <a:pt x="269" y="355"/>
                  <a:pt x="268" y="353"/>
                  <a:pt x="267" y="352"/>
                </a:cubicBezTo>
                <a:cubicBezTo>
                  <a:pt x="251" y="338"/>
                  <a:pt x="237" y="320"/>
                  <a:pt x="227" y="297"/>
                </a:cubicBezTo>
                <a:cubicBezTo>
                  <a:pt x="221" y="315"/>
                  <a:pt x="212" y="335"/>
                  <a:pt x="200" y="359"/>
                </a:cubicBezTo>
                <a:cubicBezTo>
                  <a:pt x="194" y="370"/>
                  <a:pt x="189" y="379"/>
                  <a:pt x="186" y="385"/>
                </a:cubicBezTo>
                <a:close/>
                <a:moveTo>
                  <a:pt x="225" y="218"/>
                </a:moveTo>
                <a:cubicBezTo>
                  <a:pt x="225" y="217"/>
                  <a:pt x="226" y="212"/>
                  <a:pt x="227" y="204"/>
                </a:cubicBezTo>
                <a:cubicBezTo>
                  <a:pt x="227" y="204"/>
                  <a:pt x="228" y="199"/>
                  <a:pt x="229" y="191"/>
                </a:cubicBezTo>
                <a:cubicBezTo>
                  <a:pt x="229" y="190"/>
                  <a:pt x="230" y="189"/>
                  <a:pt x="230" y="188"/>
                </a:cubicBezTo>
                <a:cubicBezTo>
                  <a:pt x="230" y="188"/>
                  <a:pt x="230" y="188"/>
                  <a:pt x="230" y="188"/>
                </a:cubicBezTo>
                <a:cubicBezTo>
                  <a:pt x="230" y="187"/>
                  <a:pt x="230" y="187"/>
                  <a:pt x="230" y="187"/>
                </a:cubicBezTo>
                <a:cubicBezTo>
                  <a:pt x="230" y="187"/>
                  <a:pt x="230" y="187"/>
                  <a:pt x="230" y="187"/>
                </a:cubicBezTo>
                <a:cubicBezTo>
                  <a:pt x="230" y="182"/>
                  <a:pt x="228" y="178"/>
                  <a:pt x="226" y="175"/>
                </a:cubicBezTo>
                <a:cubicBezTo>
                  <a:pt x="226" y="176"/>
                  <a:pt x="226" y="176"/>
                  <a:pt x="225" y="176"/>
                </a:cubicBezTo>
                <a:lnTo>
                  <a:pt x="225" y="177"/>
                </a:lnTo>
                <a:cubicBezTo>
                  <a:pt x="222" y="185"/>
                  <a:pt x="222" y="199"/>
                  <a:pt x="225" y="218"/>
                </a:cubicBezTo>
                <a:close/>
                <a:moveTo>
                  <a:pt x="322" y="161"/>
                </a:moveTo>
                <a:lnTo>
                  <a:pt x="441" y="161"/>
                </a:lnTo>
                <a:cubicBezTo>
                  <a:pt x="439" y="155"/>
                  <a:pt x="436" y="151"/>
                  <a:pt x="434" y="148"/>
                </a:cubicBezTo>
                <a:lnTo>
                  <a:pt x="335" y="49"/>
                </a:lnTo>
                <a:cubicBezTo>
                  <a:pt x="333" y="47"/>
                  <a:pt x="328" y="45"/>
                  <a:pt x="322" y="42"/>
                </a:cubicBezTo>
                <a:lnTo>
                  <a:pt x="322" y="161"/>
                </a:lnTo>
                <a:close/>
                <a:moveTo>
                  <a:pt x="346" y="372"/>
                </a:moveTo>
                <a:cubicBezTo>
                  <a:pt x="362" y="378"/>
                  <a:pt x="375" y="381"/>
                  <a:pt x="385" y="381"/>
                </a:cubicBezTo>
                <a:cubicBezTo>
                  <a:pt x="388" y="381"/>
                  <a:pt x="390" y="381"/>
                  <a:pt x="390" y="381"/>
                </a:cubicBezTo>
                <a:cubicBezTo>
                  <a:pt x="390" y="381"/>
                  <a:pt x="390" y="380"/>
                  <a:pt x="390" y="380"/>
                </a:cubicBezTo>
                <a:cubicBezTo>
                  <a:pt x="385" y="375"/>
                  <a:pt x="370" y="372"/>
                  <a:pt x="346" y="372"/>
                </a:cubicBezTo>
                <a:close/>
              </a:path>
            </a:pathLst>
          </a:custGeom>
          <a:solidFill>
            <a:srgbClr val="0D5893"/>
          </a:solidFill>
          <a:ln w="0">
            <a:solidFill>
              <a:srgbClr val="0D589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hteck 16">
            <a:hlinkClick r:id="rId8"/>
          </p:cNvPr>
          <p:cNvSpPr/>
          <p:nvPr/>
        </p:nvSpPr>
        <p:spPr>
          <a:xfrm>
            <a:off x="1644383" y="4813910"/>
            <a:ext cx="6137065" cy="369332"/>
          </a:xfrm>
          <a:prstGeom prst="rect">
            <a:avLst/>
          </a:prstGeom>
        </p:spPr>
        <p:txBody>
          <a:bodyPr wrap="none">
            <a:spAutoFit/>
          </a:bodyPr>
          <a:lstStyle/>
          <a:p>
            <a:r>
              <a:rPr lang="de-DE" u="sng" dirty="0">
                <a:solidFill>
                  <a:srgbClr val="0D5893"/>
                </a:solidFill>
              </a:rPr>
              <a:t>DGUV Zertifizierung von kollaborierenden Robotern 19.05.2017</a:t>
            </a:r>
          </a:p>
        </p:txBody>
      </p:sp>
      <p:sp>
        <p:nvSpPr>
          <p:cNvPr id="18" name="Textfeld 17"/>
          <p:cNvSpPr txBox="1"/>
          <p:nvPr/>
        </p:nvSpPr>
        <p:spPr>
          <a:xfrm>
            <a:off x="2130411" y="5799639"/>
            <a:ext cx="1657377" cy="523220"/>
          </a:xfrm>
          <a:prstGeom prst="rect">
            <a:avLst/>
          </a:prstGeom>
          <a:noFill/>
        </p:spPr>
        <p:txBody>
          <a:bodyPr wrap="none" rtlCol="0">
            <a:spAutoFit/>
          </a:bodyPr>
          <a:lstStyle/>
          <a:p>
            <a:r>
              <a:rPr lang="de-DE" sz="1400" dirty="0"/>
              <a:t>Robert Bosch GmbH</a:t>
            </a:r>
          </a:p>
          <a:p>
            <a:r>
              <a:rPr lang="de-DE" sz="1400" dirty="0"/>
              <a:t>APAS Assistent</a:t>
            </a:r>
          </a:p>
        </p:txBody>
      </p:sp>
      <p:pic>
        <p:nvPicPr>
          <p:cNvPr id="29700" name="Picture 4" descr="Bildergebnis für Kuka Iiwa"/>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54005" y="5183242"/>
            <a:ext cx="1064314" cy="1232796"/>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p:cNvSpPr txBox="1"/>
          <p:nvPr/>
        </p:nvSpPr>
        <p:spPr>
          <a:xfrm>
            <a:off x="4608189" y="5872335"/>
            <a:ext cx="1668214" cy="523220"/>
          </a:xfrm>
          <a:prstGeom prst="rect">
            <a:avLst/>
          </a:prstGeom>
          <a:noFill/>
        </p:spPr>
        <p:txBody>
          <a:bodyPr wrap="none" rtlCol="0">
            <a:spAutoFit/>
          </a:bodyPr>
          <a:lstStyle/>
          <a:p>
            <a:r>
              <a:rPr lang="de-DE" sz="1400" dirty="0"/>
              <a:t>Kuka Systems GmbH</a:t>
            </a:r>
          </a:p>
          <a:p>
            <a:r>
              <a:rPr lang="de-DE" sz="1400" dirty="0"/>
              <a:t>LBR </a:t>
            </a:r>
            <a:r>
              <a:rPr lang="de-DE" sz="1400" dirty="0" err="1"/>
              <a:t>Iiwa</a:t>
            </a:r>
            <a:endParaRPr lang="de-DE" sz="1400" dirty="0"/>
          </a:p>
        </p:txBody>
      </p:sp>
      <p:pic>
        <p:nvPicPr>
          <p:cNvPr id="29702" name="Picture 6" descr="Bildergebnis für MRK System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84812" y="5258453"/>
            <a:ext cx="682262" cy="1137103"/>
          </a:xfrm>
          <a:prstGeom prst="rect">
            <a:avLst/>
          </a:prstGeom>
          <a:noFill/>
          <a:extLst>
            <a:ext uri="{909E8E84-426E-40DD-AFC4-6F175D3DCCD1}">
              <a14:hiddenFill xmlns:a14="http://schemas.microsoft.com/office/drawing/2010/main">
                <a:solidFill>
                  <a:srgbClr val="FFFFFF"/>
                </a:solidFill>
              </a14:hiddenFill>
            </a:ext>
          </a:extLst>
        </p:spPr>
      </p:pic>
      <p:sp>
        <p:nvSpPr>
          <p:cNvPr id="19" name="Rechteck 18"/>
          <p:cNvSpPr/>
          <p:nvPr/>
        </p:nvSpPr>
        <p:spPr>
          <a:xfrm>
            <a:off x="7119368" y="5872335"/>
            <a:ext cx="1696555" cy="523220"/>
          </a:xfrm>
          <a:prstGeom prst="rect">
            <a:avLst/>
          </a:prstGeom>
          <a:noFill/>
        </p:spPr>
        <p:txBody>
          <a:bodyPr wrap="none" rtlCol="0">
            <a:spAutoFit/>
          </a:bodyPr>
          <a:lstStyle/>
          <a:p>
            <a:r>
              <a:rPr lang="de-DE" sz="1400" dirty="0"/>
              <a:t>MRK-Systeme GmbH</a:t>
            </a:r>
          </a:p>
          <a:p>
            <a:r>
              <a:rPr lang="de-DE" sz="1400" dirty="0"/>
              <a:t>KR 5 SI</a:t>
            </a:r>
          </a:p>
        </p:txBody>
      </p:sp>
      <p:sp>
        <p:nvSpPr>
          <p:cNvPr id="20" name="Rechteck 19"/>
          <p:cNvSpPr/>
          <p:nvPr/>
        </p:nvSpPr>
        <p:spPr>
          <a:xfrm>
            <a:off x="9527982" y="5872335"/>
            <a:ext cx="1196866" cy="523220"/>
          </a:xfrm>
          <a:prstGeom prst="rect">
            <a:avLst/>
          </a:prstGeom>
          <a:noFill/>
        </p:spPr>
        <p:txBody>
          <a:bodyPr wrap="none" rtlCol="0">
            <a:spAutoFit/>
          </a:bodyPr>
          <a:lstStyle/>
          <a:p>
            <a:r>
              <a:rPr lang="de-DE" sz="1400" dirty="0"/>
              <a:t>Tetra GmbH</a:t>
            </a:r>
          </a:p>
          <a:p>
            <a:r>
              <a:rPr lang="de-DE" sz="1400" dirty="0" err="1"/>
              <a:t>BioRob</a:t>
            </a:r>
            <a:r>
              <a:rPr lang="de-DE" sz="1400" dirty="0"/>
              <a:t> Ultra2</a:t>
            </a:r>
          </a:p>
        </p:txBody>
      </p:sp>
      <p:pic>
        <p:nvPicPr>
          <p:cNvPr id="29704" name="Picture 8" descr="TETRA Robotik - BioRob-ultra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972393" y="5145849"/>
            <a:ext cx="1805249" cy="1105715"/>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25"/>
          <p:cNvPicPr>
            <a:picLocks noChangeAspect="1"/>
          </p:cNvPicPr>
          <p:nvPr/>
        </p:nvPicPr>
        <p:blipFill>
          <a:blip r:embed="rId12" cstate="print">
            <a:extLst>
              <a:ext uri="{BEBA8EAE-BF5A-486C-A8C5-ECC9F3942E4B}">
                <a14:imgProps xmlns:a14="http://schemas.microsoft.com/office/drawing/2010/main">
                  <a14:imgLayer r:embed="rId13">
                    <a14:imgEffect>
                      <a14:backgroundRemoval t="0" b="98396" l="9947" r="89876"/>
                    </a14:imgEffect>
                  </a14:imgLayer>
                </a14:imgProps>
              </a:ext>
              <a:ext uri="{28A0092B-C50C-407E-A947-70E740481C1C}">
                <a14:useLocalDpi xmlns:a14="http://schemas.microsoft.com/office/drawing/2010/main" val="0"/>
              </a:ext>
            </a:extLst>
          </a:blip>
          <a:stretch>
            <a:fillRect/>
          </a:stretch>
        </p:blipFill>
        <p:spPr>
          <a:xfrm>
            <a:off x="1602037" y="5372224"/>
            <a:ext cx="746651" cy="1034127"/>
          </a:xfrm>
          <a:prstGeom prst="rect">
            <a:avLst/>
          </a:prstGeom>
        </p:spPr>
      </p:pic>
      <p:sp>
        <p:nvSpPr>
          <p:cNvPr id="27" name="Freeform 449">
            <a:hlinkClick r:id="rId14" action="ppaction://hlinkfile"/>
          </p:cNvPr>
          <p:cNvSpPr>
            <a:spLocks noEditPoints="1"/>
          </p:cNvSpPr>
          <p:nvPr/>
        </p:nvSpPr>
        <p:spPr bwMode="auto">
          <a:xfrm>
            <a:off x="8252117" y="4899239"/>
            <a:ext cx="225337" cy="287577"/>
          </a:xfrm>
          <a:custGeom>
            <a:avLst/>
            <a:gdLst>
              <a:gd name="T0" fmla="*/ 0 w 484"/>
              <a:gd name="T1" fmla="*/ 30 h 564"/>
              <a:gd name="T2" fmla="*/ 30 w 484"/>
              <a:gd name="T3" fmla="*/ 0 h 564"/>
              <a:gd name="T4" fmla="*/ 340 w 484"/>
              <a:gd name="T5" fmla="*/ 6 h 564"/>
              <a:gd name="T6" fmla="*/ 462 w 484"/>
              <a:gd name="T7" fmla="*/ 119 h 564"/>
              <a:gd name="T8" fmla="*/ 484 w 484"/>
              <a:gd name="T9" fmla="*/ 171 h 564"/>
              <a:gd name="T10" fmla="*/ 475 w 484"/>
              <a:gd name="T11" fmla="*/ 555 h 564"/>
              <a:gd name="T12" fmla="*/ 30 w 484"/>
              <a:gd name="T13" fmla="*/ 564 h 564"/>
              <a:gd name="T14" fmla="*/ 0 w 484"/>
              <a:gd name="T15" fmla="*/ 534 h 564"/>
              <a:gd name="T16" fmla="*/ 443 w 484"/>
              <a:gd name="T17" fmla="*/ 524 h 564"/>
              <a:gd name="T18" fmla="*/ 312 w 484"/>
              <a:gd name="T19" fmla="*/ 201 h 564"/>
              <a:gd name="T20" fmla="*/ 282 w 484"/>
              <a:gd name="T21" fmla="*/ 171 h 564"/>
              <a:gd name="T22" fmla="*/ 40 w 484"/>
              <a:gd name="T23" fmla="*/ 40 h 564"/>
              <a:gd name="T24" fmla="*/ 81 w 484"/>
              <a:gd name="T25" fmla="*/ 465 h 564"/>
              <a:gd name="T26" fmla="*/ 140 w 484"/>
              <a:gd name="T27" fmla="*/ 405 h 564"/>
              <a:gd name="T28" fmla="*/ 148 w 484"/>
              <a:gd name="T29" fmla="*/ 408 h 564"/>
              <a:gd name="T30" fmla="*/ 214 w 484"/>
              <a:gd name="T31" fmla="*/ 264 h 564"/>
              <a:gd name="T32" fmla="*/ 207 w 484"/>
              <a:gd name="T33" fmla="*/ 174 h 564"/>
              <a:gd name="T34" fmla="*/ 227 w 484"/>
              <a:gd name="T35" fmla="*/ 161 h 564"/>
              <a:gd name="T36" fmla="*/ 238 w 484"/>
              <a:gd name="T37" fmla="*/ 166 h 564"/>
              <a:gd name="T38" fmla="*/ 240 w 484"/>
              <a:gd name="T39" fmla="*/ 190 h 564"/>
              <a:gd name="T40" fmla="*/ 240 w 484"/>
              <a:gd name="T41" fmla="*/ 202 h 564"/>
              <a:gd name="T42" fmla="*/ 281 w 484"/>
              <a:gd name="T43" fmla="*/ 337 h 564"/>
              <a:gd name="T44" fmla="*/ 345 w 484"/>
              <a:gd name="T45" fmla="*/ 352 h 564"/>
              <a:gd name="T46" fmla="*/ 401 w 484"/>
              <a:gd name="T47" fmla="*/ 384 h 564"/>
              <a:gd name="T48" fmla="*/ 400 w 484"/>
              <a:gd name="T49" fmla="*/ 385 h 564"/>
              <a:gd name="T50" fmla="*/ 378 w 484"/>
              <a:gd name="T51" fmla="*/ 398 h 564"/>
              <a:gd name="T52" fmla="*/ 301 w 484"/>
              <a:gd name="T53" fmla="*/ 375 h 564"/>
              <a:gd name="T54" fmla="*/ 101 w 484"/>
              <a:gd name="T55" fmla="*/ 483 h 564"/>
              <a:gd name="T56" fmla="*/ 85 w 484"/>
              <a:gd name="T57" fmla="*/ 477 h 564"/>
              <a:gd name="T58" fmla="*/ 81 w 484"/>
              <a:gd name="T59" fmla="*/ 465 h 564"/>
              <a:gd name="T60" fmla="*/ 143 w 484"/>
              <a:gd name="T61" fmla="*/ 417 h 564"/>
              <a:gd name="T62" fmla="*/ 100 w 484"/>
              <a:gd name="T63" fmla="*/ 466 h 564"/>
              <a:gd name="T64" fmla="*/ 276 w 484"/>
              <a:gd name="T65" fmla="*/ 359 h 564"/>
              <a:gd name="T66" fmla="*/ 267 w 484"/>
              <a:gd name="T67" fmla="*/ 352 h 564"/>
              <a:gd name="T68" fmla="*/ 200 w 484"/>
              <a:gd name="T69" fmla="*/ 359 h 564"/>
              <a:gd name="T70" fmla="*/ 225 w 484"/>
              <a:gd name="T71" fmla="*/ 218 h 564"/>
              <a:gd name="T72" fmla="*/ 229 w 484"/>
              <a:gd name="T73" fmla="*/ 191 h 564"/>
              <a:gd name="T74" fmla="*/ 230 w 484"/>
              <a:gd name="T75" fmla="*/ 188 h 564"/>
              <a:gd name="T76" fmla="*/ 230 w 484"/>
              <a:gd name="T77" fmla="*/ 187 h 564"/>
              <a:gd name="T78" fmla="*/ 225 w 484"/>
              <a:gd name="T79" fmla="*/ 176 h 564"/>
              <a:gd name="T80" fmla="*/ 225 w 484"/>
              <a:gd name="T81" fmla="*/ 218 h 564"/>
              <a:gd name="T82" fmla="*/ 441 w 484"/>
              <a:gd name="T83" fmla="*/ 161 h 564"/>
              <a:gd name="T84" fmla="*/ 335 w 484"/>
              <a:gd name="T85" fmla="*/ 49 h 564"/>
              <a:gd name="T86" fmla="*/ 322 w 484"/>
              <a:gd name="T87" fmla="*/ 161 h 564"/>
              <a:gd name="T88" fmla="*/ 385 w 484"/>
              <a:gd name="T89" fmla="*/ 381 h 564"/>
              <a:gd name="T90" fmla="*/ 390 w 484"/>
              <a:gd name="T91" fmla="*/ 38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564">
                <a:moveTo>
                  <a:pt x="0" y="534"/>
                </a:moveTo>
                <a:lnTo>
                  <a:pt x="0" y="30"/>
                </a:lnTo>
                <a:cubicBezTo>
                  <a:pt x="0" y="21"/>
                  <a:pt x="3" y="14"/>
                  <a:pt x="9" y="8"/>
                </a:cubicBezTo>
                <a:cubicBezTo>
                  <a:pt x="15" y="3"/>
                  <a:pt x="22" y="0"/>
                  <a:pt x="30" y="0"/>
                </a:cubicBezTo>
                <a:lnTo>
                  <a:pt x="312" y="0"/>
                </a:lnTo>
                <a:cubicBezTo>
                  <a:pt x="321" y="0"/>
                  <a:pt x="330" y="2"/>
                  <a:pt x="340" y="6"/>
                </a:cubicBezTo>
                <a:cubicBezTo>
                  <a:pt x="350" y="10"/>
                  <a:pt x="358" y="15"/>
                  <a:pt x="364" y="21"/>
                </a:cubicBezTo>
                <a:lnTo>
                  <a:pt x="462" y="119"/>
                </a:lnTo>
                <a:cubicBezTo>
                  <a:pt x="468" y="125"/>
                  <a:pt x="473" y="133"/>
                  <a:pt x="477" y="143"/>
                </a:cubicBezTo>
                <a:cubicBezTo>
                  <a:pt x="482" y="153"/>
                  <a:pt x="484" y="163"/>
                  <a:pt x="484" y="171"/>
                </a:cubicBezTo>
                <a:lnTo>
                  <a:pt x="484" y="534"/>
                </a:lnTo>
                <a:cubicBezTo>
                  <a:pt x="484" y="542"/>
                  <a:pt x="481" y="549"/>
                  <a:pt x="475" y="555"/>
                </a:cubicBezTo>
                <a:cubicBezTo>
                  <a:pt x="469" y="561"/>
                  <a:pt x="462" y="564"/>
                  <a:pt x="453" y="564"/>
                </a:cubicBezTo>
                <a:lnTo>
                  <a:pt x="30" y="564"/>
                </a:lnTo>
                <a:cubicBezTo>
                  <a:pt x="22" y="564"/>
                  <a:pt x="15" y="561"/>
                  <a:pt x="9" y="555"/>
                </a:cubicBezTo>
                <a:cubicBezTo>
                  <a:pt x="3" y="549"/>
                  <a:pt x="0" y="542"/>
                  <a:pt x="0" y="534"/>
                </a:cubicBezTo>
                <a:close/>
                <a:moveTo>
                  <a:pt x="40" y="524"/>
                </a:moveTo>
                <a:lnTo>
                  <a:pt x="443" y="524"/>
                </a:lnTo>
                <a:lnTo>
                  <a:pt x="443" y="201"/>
                </a:lnTo>
                <a:lnTo>
                  <a:pt x="312" y="201"/>
                </a:lnTo>
                <a:cubicBezTo>
                  <a:pt x="304" y="201"/>
                  <a:pt x="297" y="198"/>
                  <a:pt x="291" y="192"/>
                </a:cubicBezTo>
                <a:cubicBezTo>
                  <a:pt x="285" y="187"/>
                  <a:pt x="282" y="179"/>
                  <a:pt x="282" y="171"/>
                </a:cubicBezTo>
                <a:lnTo>
                  <a:pt x="282" y="40"/>
                </a:lnTo>
                <a:lnTo>
                  <a:pt x="40" y="40"/>
                </a:lnTo>
                <a:lnTo>
                  <a:pt x="40" y="524"/>
                </a:lnTo>
                <a:close/>
                <a:moveTo>
                  <a:pt x="81" y="465"/>
                </a:moveTo>
                <a:cubicBezTo>
                  <a:pt x="83" y="456"/>
                  <a:pt x="89" y="447"/>
                  <a:pt x="98" y="436"/>
                </a:cubicBezTo>
                <a:cubicBezTo>
                  <a:pt x="108" y="425"/>
                  <a:pt x="122" y="415"/>
                  <a:pt x="140" y="405"/>
                </a:cubicBezTo>
                <a:cubicBezTo>
                  <a:pt x="143" y="403"/>
                  <a:pt x="145" y="404"/>
                  <a:pt x="147" y="407"/>
                </a:cubicBezTo>
                <a:cubicBezTo>
                  <a:pt x="148" y="408"/>
                  <a:pt x="148" y="408"/>
                  <a:pt x="148" y="408"/>
                </a:cubicBezTo>
                <a:cubicBezTo>
                  <a:pt x="159" y="391"/>
                  <a:pt x="170" y="370"/>
                  <a:pt x="182" y="346"/>
                </a:cubicBezTo>
                <a:cubicBezTo>
                  <a:pt x="196" y="318"/>
                  <a:pt x="207" y="290"/>
                  <a:pt x="214" y="264"/>
                </a:cubicBezTo>
                <a:cubicBezTo>
                  <a:pt x="209" y="247"/>
                  <a:pt x="206" y="230"/>
                  <a:pt x="205" y="214"/>
                </a:cubicBezTo>
                <a:cubicBezTo>
                  <a:pt x="203" y="197"/>
                  <a:pt x="204" y="184"/>
                  <a:pt x="207" y="174"/>
                </a:cubicBezTo>
                <a:cubicBezTo>
                  <a:pt x="209" y="165"/>
                  <a:pt x="213" y="161"/>
                  <a:pt x="220" y="161"/>
                </a:cubicBezTo>
                <a:lnTo>
                  <a:pt x="227" y="161"/>
                </a:lnTo>
                <a:lnTo>
                  <a:pt x="227" y="161"/>
                </a:lnTo>
                <a:cubicBezTo>
                  <a:pt x="232" y="161"/>
                  <a:pt x="235" y="162"/>
                  <a:pt x="238" y="166"/>
                </a:cubicBezTo>
                <a:cubicBezTo>
                  <a:pt x="242" y="170"/>
                  <a:pt x="243" y="177"/>
                  <a:pt x="241" y="187"/>
                </a:cubicBezTo>
                <a:cubicBezTo>
                  <a:pt x="240" y="188"/>
                  <a:pt x="240" y="189"/>
                  <a:pt x="240" y="190"/>
                </a:cubicBezTo>
                <a:cubicBezTo>
                  <a:pt x="240" y="190"/>
                  <a:pt x="240" y="191"/>
                  <a:pt x="240" y="192"/>
                </a:cubicBezTo>
                <a:lnTo>
                  <a:pt x="240" y="202"/>
                </a:lnTo>
                <a:cubicBezTo>
                  <a:pt x="239" y="227"/>
                  <a:pt x="238" y="248"/>
                  <a:pt x="235" y="262"/>
                </a:cubicBezTo>
                <a:cubicBezTo>
                  <a:pt x="247" y="296"/>
                  <a:pt x="262" y="321"/>
                  <a:pt x="281" y="337"/>
                </a:cubicBezTo>
                <a:cubicBezTo>
                  <a:pt x="288" y="342"/>
                  <a:pt x="297" y="348"/>
                  <a:pt x="308" y="355"/>
                </a:cubicBezTo>
                <a:cubicBezTo>
                  <a:pt x="320" y="353"/>
                  <a:pt x="333" y="352"/>
                  <a:pt x="345" y="352"/>
                </a:cubicBezTo>
                <a:cubicBezTo>
                  <a:pt x="376" y="352"/>
                  <a:pt x="394" y="358"/>
                  <a:pt x="400" y="368"/>
                </a:cubicBezTo>
                <a:cubicBezTo>
                  <a:pt x="404" y="372"/>
                  <a:pt x="404" y="378"/>
                  <a:pt x="401" y="384"/>
                </a:cubicBezTo>
                <a:cubicBezTo>
                  <a:pt x="401" y="384"/>
                  <a:pt x="401" y="385"/>
                  <a:pt x="401" y="385"/>
                </a:cubicBezTo>
                <a:lnTo>
                  <a:pt x="400" y="385"/>
                </a:lnTo>
                <a:lnTo>
                  <a:pt x="400" y="386"/>
                </a:lnTo>
                <a:cubicBezTo>
                  <a:pt x="399" y="394"/>
                  <a:pt x="391" y="398"/>
                  <a:pt x="378" y="398"/>
                </a:cubicBezTo>
                <a:cubicBezTo>
                  <a:pt x="368" y="398"/>
                  <a:pt x="356" y="396"/>
                  <a:pt x="342" y="391"/>
                </a:cubicBezTo>
                <a:cubicBezTo>
                  <a:pt x="328" y="387"/>
                  <a:pt x="314" y="382"/>
                  <a:pt x="301" y="375"/>
                </a:cubicBezTo>
                <a:cubicBezTo>
                  <a:pt x="254" y="380"/>
                  <a:pt x="213" y="389"/>
                  <a:pt x="177" y="401"/>
                </a:cubicBezTo>
                <a:cubicBezTo>
                  <a:pt x="145" y="456"/>
                  <a:pt x="120" y="483"/>
                  <a:pt x="101" y="483"/>
                </a:cubicBezTo>
                <a:cubicBezTo>
                  <a:pt x="98" y="483"/>
                  <a:pt x="95" y="483"/>
                  <a:pt x="92" y="481"/>
                </a:cubicBezTo>
                <a:lnTo>
                  <a:pt x="85" y="477"/>
                </a:lnTo>
                <a:cubicBezTo>
                  <a:pt x="84" y="477"/>
                  <a:pt x="84" y="477"/>
                  <a:pt x="83" y="476"/>
                </a:cubicBezTo>
                <a:cubicBezTo>
                  <a:pt x="81" y="474"/>
                  <a:pt x="80" y="470"/>
                  <a:pt x="81" y="465"/>
                </a:cubicBezTo>
                <a:close/>
                <a:moveTo>
                  <a:pt x="100" y="466"/>
                </a:moveTo>
                <a:cubicBezTo>
                  <a:pt x="111" y="461"/>
                  <a:pt x="125" y="445"/>
                  <a:pt x="143" y="417"/>
                </a:cubicBezTo>
                <a:cubicBezTo>
                  <a:pt x="132" y="425"/>
                  <a:pt x="123" y="434"/>
                  <a:pt x="116" y="443"/>
                </a:cubicBezTo>
                <a:cubicBezTo>
                  <a:pt x="108" y="452"/>
                  <a:pt x="103" y="460"/>
                  <a:pt x="100" y="466"/>
                </a:cubicBezTo>
                <a:close/>
                <a:moveTo>
                  <a:pt x="186" y="385"/>
                </a:moveTo>
                <a:cubicBezTo>
                  <a:pt x="215" y="374"/>
                  <a:pt x="244" y="365"/>
                  <a:pt x="276" y="359"/>
                </a:cubicBezTo>
                <a:cubicBezTo>
                  <a:pt x="275" y="359"/>
                  <a:pt x="274" y="358"/>
                  <a:pt x="272" y="356"/>
                </a:cubicBezTo>
                <a:cubicBezTo>
                  <a:pt x="269" y="355"/>
                  <a:pt x="268" y="353"/>
                  <a:pt x="267" y="352"/>
                </a:cubicBezTo>
                <a:cubicBezTo>
                  <a:pt x="251" y="338"/>
                  <a:pt x="237" y="320"/>
                  <a:pt x="227" y="297"/>
                </a:cubicBezTo>
                <a:cubicBezTo>
                  <a:pt x="221" y="315"/>
                  <a:pt x="212" y="335"/>
                  <a:pt x="200" y="359"/>
                </a:cubicBezTo>
                <a:cubicBezTo>
                  <a:pt x="194" y="370"/>
                  <a:pt x="189" y="379"/>
                  <a:pt x="186" y="385"/>
                </a:cubicBezTo>
                <a:close/>
                <a:moveTo>
                  <a:pt x="225" y="218"/>
                </a:moveTo>
                <a:cubicBezTo>
                  <a:pt x="225" y="217"/>
                  <a:pt x="226" y="212"/>
                  <a:pt x="227" y="204"/>
                </a:cubicBezTo>
                <a:cubicBezTo>
                  <a:pt x="227" y="204"/>
                  <a:pt x="228" y="199"/>
                  <a:pt x="229" y="191"/>
                </a:cubicBezTo>
                <a:cubicBezTo>
                  <a:pt x="229" y="190"/>
                  <a:pt x="230" y="189"/>
                  <a:pt x="230" y="188"/>
                </a:cubicBezTo>
                <a:cubicBezTo>
                  <a:pt x="230" y="188"/>
                  <a:pt x="230" y="188"/>
                  <a:pt x="230" y="188"/>
                </a:cubicBezTo>
                <a:cubicBezTo>
                  <a:pt x="230" y="187"/>
                  <a:pt x="230" y="187"/>
                  <a:pt x="230" y="187"/>
                </a:cubicBezTo>
                <a:cubicBezTo>
                  <a:pt x="230" y="187"/>
                  <a:pt x="230" y="187"/>
                  <a:pt x="230" y="187"/>
                </a:cubicBezTo>
                <a:cubicBezTo>
                  <a:pt x="230" y="182"/>
                  <a:pt x="228" y="178"/>
                  <a:pt x="226" y="175"/>
                </a:cubicBezTo>
                <a:cubicBezTo>
                  <a:pt x="226" y="176"/>
                  <a:pt x="226" y="176"/>
                  <a:pt x="225" y="176"/>
                </a:cubicBezTo>
                <a:lnTo>
                  <a:pt x="225" y="177"/>
                </a:lnTo>
                <a:cubicBezTo>
                  <a:pt x="222" y="185"/>
                  <a:pt x="222" y="199"/>
                  <a:pt x="225" y="218"/>
                </a:cubicBezTo>
                <a:close/>
                <a:moveTo>
                  <a:pt x="322" y="161"/>
                </a:moveTo>
                <a:lnTo>
                  <a:pt x="441" y="161"/>
                </a:lnTo>
                <a:cubicBezTo>
                  <a:pt x="439" y="155"/>
                  <a:pt x="436" y="151"/>
                  <a:pt x="434" y="148"/>
                </a:cubicBezTo>
                <a:lnTo>
                  <a:pt x="335" y="49"/>
                </a:lnTo>
                <a:cubicBezTo>
                  <a:pt x="333" y="47"/>
                  <a:pt x="328" y="45"/>
                  <a:pt x="322" y="42"/>
                </a:cubicBezTo>
                <a:lnTo>
                  <a:pt x="322" y="161"/>
                </a:lnTo>
                <a:close/>
                <a:moveTo>
                  <a:pt x="346" y="372"/>
                </a:moveTo>
                <a:cubicBezTo>
                  <a:pt x="362" y="378"/>
                  <a:pt x="375" y="381"/>
                  <a:pt x="385" y="381"/>
                </a:cubicBezTo>
                <a:cubicBezTo>
                  <a:pt x="388" y="381"/>
                  <a:pt x="390" y="381"/>
                  <a:pt x="390" y="381"/>
                </a:cubicBezTo>
                <a:cubicBezTo>
                  <a:pt x="390" y="381"/>
                  <a:pt x="390" y="380"/>
                  <a:pt x="390" y="380"/>
                </a:cubicBezTo>
                <a:cubicBezTo>
                  <a:pt x="385" y="375"/>
                  <a:pt x="370" y="372"/>
                  <a:pt x="346" y="372"/>
                </a:cubicBezTo>
                <a:close/>
              </a:path>
            </a:pathLst>
          </a:custGeom>
          <a:solidFill>
            <a:srgbClr val="0D5893"/>
          </a:solidFill>
          <a:ln w="0">
            <a:solidFill>
              <a:srgbClr val="0D589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449035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dirty="0"/>
              <a:t>Industrial Security: Motivation</a:t>
            </a:r>
          </a:p>
        </p:txBody>
      </p:sp>
      <p:pic>
        <p:nvPicPr>
          <p:cNvPr id="4" name="Picture 2" descr="C:\Promotion\IT-Security\angriffe steigen.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4417" y="1114051"/>
            <a:ext cx="3318992" cy="374729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C:\Promotion\IT-Security\Grafiken\distribution of attacks.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532016" y="1114052"/>
            <a:ext cx="3664928" cy="22644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Promotion\IT-Security\Grafiken\Sources.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39435" y="3642145"/>
            <a:ext cx="3952832" cy="2438400"/>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p:nvSpPr>
        <p:spPr>
          <a:xfrm>
            <a:off x="6331418" y="6238337"/>
            <a:ext cx="3801041" cy="230832"/>
          </a:xfrm>
          <a:prstGeom prst="rect">
            <a:avLst/>
          </a:prstGeom>
          <a:noFill/>
        </p:spPr>
        <p:txBody>
          <a:bodyPr wrap="none" rtlCol="0">
            <a:spAutoFit/>
          </a:bodyPr>
          <a:lstStyle/>
          <a:p>
            <a:r>
              <a:rPr lang="de-DE" sz="900" dirty="0">
                <a:latin typeface="+mj-lt"/>
              </a:rPr>
              <a:t>Quelle : securelist,.i40-magazin ,</a:t>
            </a:r>
            <a:r>
              <a:rPr lang="de-DE" sz="900" dirty="0" err="1">
                <a:latin typeface="+mj-lt"/>
              </a:rPr>
              <a:t>securityintelligence</a:t>
            </a:r>
            <a:r>
              <a:rPr lang="de-DE" sz="900" dirty="0">
                <a:latin typeface="+mj-lt"/>
              </a:rPr>
              <a:t>, VDI Nachrichten  </a:t>
            </a:r>
          </a:p>
        </p:txBody>
      </p:sp>
      <p:pic>
        <p:nvPicPr>
          <p:cNvPr id="10"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rot="21066802">
            <a:off x="2579441" y="3117557"/>
            <a:ext cx="3357796" cy="28787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90658" name="Picture 2" descr="C:\Promotion\Betreuung Vorlesung, Seminare\GdA\Vorlesung Industrial Security\Quellen\IMG_20200126_113943.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550830" y="1143004"/>
            <a:ext cx="2981187" cy="1842736"/>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6"/>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9" name="Foliennummernplatzhalter 8"/>
          <p:cNvSpPr>
            <a:spLocks noGrp="1"/>
          </p:cNvSpPr>
          <p:nvPr>
            <p:ph type="sldNum" sz="quarter" idx="16"/>
          </p:nvPr>
        </p:nvSpPr>
        <p:spPr/>
        <p:txBody>
          <a:bodyPr/>
          <a:lstStyle/>
          <a:p>
            <a:fld id="{61F2C2C2-1EE4-4D60-B09F-2141F977BFAA}" type="slidenum">
              <a:rPr lang="de-DE" altLang="de-DE" smtClean="0"/>
              <a:pPr/>
              <a:t>53</a:t>
            </a:fld>
            <a:endParaRPr lang="de-DE" altLang="de-DE"/>
          </a:p>
        </p:txBody>
      </p:sp>
    </p:spTree>
    <p:extLst>
      <p:ext uri="{BB962C8B-B14F-4D97-AF65-F5344CB8AC3E}">
        <p14:creationId xmlns:p14="http://schemas.microsoft.com/office/powerpoint/2010/main" val="2088200307"/>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a:xfrm>
            <a:off x="697304" y="1385300"/>
            <a:ext cx="8593668" cy="4832352"/>
          </a:xfrm>
        </p:spPr>
        <p:txBody>
          <a:bodyPr/>
          <a:lstStyle/>
          <a:p>
            <a:pPr marL="0" indent="0">
              <a:buNone/>
            </a:pPr>
            <a:r>
              <a:rPr lang="de-DE" dirty="0"/>
              <a:t>Top 10 Bedrohungen für Industrial Control Systems (ICS)</a:t>
            </a:r>
          </a:p>
        </p:txBody>
      </p:sp>
      <p:sp>
        <p:nvSpPr>
          <p:cNvPr id="2" name="Titel 1"/>
          <p:cNvSpPr>
            <a:spLocks noGrp="1"/>
          </p:cNvSpPr>
          <p:nvPr>
            <p:ph type="title"/>
          </p:nvPr>
        </p:nvSpPr>
        <p:spPr/>
        <p:txBody>
          <a:bodyPr>
            <a:normAutofit fontScale="90000"/>
          </a:bodyPr>
          <a:lstStyle/>
          <a:p>
            <a:r>
              <a:rPr lang="de-DE" dirty="0"/>
              <a:t>Bedrohungen Industrial Control Systems </a:t>
            </a:r>
          </a:p>
        </p:txBody>
      </p:sp>
      <p:sp>
        <p:nvSpPr>
          <p:cNvPr id="5" name="Textfeld 4"/>
          <p:cNvSpPr txBox="1"/>
          <p:nvPr/>
        </p:nvSpPr>
        <p:spPr>
          <a:xfrm>
            <a:off x="9647768" y="5986820"/>
            <a:ext cx="2337499" cy="230832"/>
          </a:xfrm>
          <a:prstGeom prst="rect">
            <a:avLst/>
          </a:prstGeom>
          <a:noFill/>
        </p:spPr>
        <p:txBody>
          <a:bodyPr wrap="none" rtlCol="0">
            <a:spAutoFit/>
          </a:bodyPr>
          <a:lstStyle/>
          <a:p>
            <a:r>
              <a:rPr lang="de-DE" sz="900" dirty="0">
                <a:latin typeface="+mj-lt"/>
              </a:rPr>
              <a:t>Quelle: BSI: Industrial Control System Security</a:t>
            </a:r>
          </a:p>
        </p:txBody>
      </p:sp>
      <p:pic>
        <p:nvPicPr>
          <p:cNvPr id="1991682"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86687" y="1718891"/>
            <a:ext cx="9472196" cy="41651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ußzeilenplatzhalter 2"/>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6" name="Foliennummernplatzhalter 5"/>
          <p:cNvSpPr>
            <a:spLocks noGrp="1"/>
          </p:cNvSpPr>
          <p:nvPr>
            <p:ph type="sldNum" sz="quarter" idx="16"/>
          </p:nvPr>
        </p:nvSpPr>
        <p:spPr/>
        <p:txBody>
          <a:bodyPr/>
          <a:lstStyle/>
          <a:p>
            <a:fld id="{61F2C2C2-1EE4-4D60-B09F-2141F977BFAA}" type="slidenum">
              <a:rPr lang="de-DE" altLang="de-DE" smtClean="0"/>
              <a:pPr/>
              <a:t>54</a:t>
            </a:fld>
            <a:endParaRPr lang="de-DE" altLang="de-DE"/>
          </a:p>
        </p:txBody>
      </p:sp>
    </p:spTree>
    <p:extLst>
      <p:ext uri="{BB962C8B-B14F-4D97-AF65-F5344CB8AC3E}">
        <p14:creationId xmlns:p14="http://schemas.microsoft.com/office/powerpoint/2010/main" val="1817802834"/>
      </p:ext>
    </p:extLst>
  </p:cSld>
  <p:clrMapOvr>
    <a:masterClrMapping/>
  </p:clrMapOvr>
  <p:transition spd="slow">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557369" y="1311922"/>
            <a:ext cx="5490211" cy="4072865"/>
            <a:chOff x="1527465" y="914773"/>
            <a:chExt cx="5490211" cy="4072865"/>
          </a:xfrm>
        </p:grpSpPr>
        <p:pic>
          <p:nvPicPr>
            <p:cNvPr id="2491394" name="Picture 2" descr="Polizei, Sicherheit, City, Überwachung, Schutz"/>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072842" y="1806576"/>
              <a:ext cx="4465122" cy="3181062"/>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p:nvSpPr>
          <p:spPr>
            <a:xfrm rot="19494090">
              <a:off x="5280149" y="936333"/>
              <a:ext cx="1737527" cy="39400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dirty="0">
                <a:solidFill>
                  <a:schemeClr val="tx1"/>
                </a:solidFill>
              </a:endParaRPr>
            </a:p>
          </p:txBody>
        </p:sp>
        <p:sp>
          <p:nvSpPr>
            <p:cNvPr id="7" name="Rechteck 6"/>
            <p:cNvSpPr/>
            <p:nvPr/>
          </p:nvSpPr>
          <p:spPr>
            <a:xfrm rot="2107068">
              <a:off x="1527465" y="914773"/>
              <a:ext cx="1812940" cy="3926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dirty="0">
                <a:solidFill>
                  <a:schemeClr val="tx1"/>
                </a:solidFill>
              </a:endParaRPr>
            </a:p>
          </p:txBody>
        </p:sp>
      </p:grpSp>
      <p:sp>
        <p:nvSpPr>
          <p:cNvPr id="12" name="Rechteck 11"/>
          <p:cNvSpPr/>
          <p:nvPr/>
        </p:nvSpPr>
        <p:spPr>
          <a:xfrm>
            <a:off x="3767948" y="1230241"/>
            <a:ext cx="5387961" cy="1115925"/>
          </a:xfrm>
          <a:prstGeom prst="rect">
            <a:avLst/>
          </a:prstGeom>
          <a:solidFill>
            <a:srgbClr val="006DB6"/>
          </a:solidFill>
          <a:ln/>
        </p:spPr>
        <p:style>
          <a:lnRef idx="1">
            <a:schemeClr val="accent1"/>
          </a:lnRef>
          <a:fillRef idx="3">
            <a:schemeClr val="accent1"/>
          </a:fillRef>
          <a:effectRef idx="2">
            <a:schemeClr val="accent1"/>
          </a:effectRef>
          <a:fontRef idx="minor">
            <a:schemeClr val="lt1"/>
          </a:fontRef>
        </p:style>
        <p:txBody>
          <a:bodyPr rtlCol="0" anchor="t"/>
          <a:lstStyle/>
          <a:p>
            <a:r>
              <a:rPr lang="de-DE" b="1" dirty="0" err="1">
                <a:solidFill>
                  <a:schemeClr val="bg1"/>
                </a:solidFill>
              </a:rPr>
              <a:t>Availability</a:t>
            </a:r>
            <a:r>
              <a:rPr lang="de-DE" b="1" dirty="0">
                <a:solidFill>
                  <a:schemeClr val="bg1"/>
                </a:solidFill>
              </a:rPr>
              <a:t>:</a:t>
            </a:r>
          </a:p>
          <a:p>
            <a:r>
              <a:rPr lang="de-DE" sz="1400" b="1" dirty="0">
                <a:solidFill>
                  <a:schemeClr val="bg1"/>
                </a:solidFill>
              </a:rPr>
              <a:t>Zustand, indem eine erforderliche Funktion unter gegebenen Bedingungen zu einem gegebenen Zeitpunkt oder über ein gegebenes Zeitintervall ausgeführt werden kann.</a:t>
            </a:r>
            <a:endParaRPr lang="de-DE" b="1" dirty="0">
              <a:solidFill>
                <a:schemeClr val="bg1"/>
              </a:solidFill>
            </a:endParaRPr>
          </a:p>
        </p:txBody>
      </p:sp>
      <p:sp>
        <p:nvSpPr>
          <p:cNvPr id="10" name="Pfeil nach unten 9"/>
          <p:cNvSpPr/>
          <p:nvPr/>
        </p:nvSpPr>
        <p:spPr>
          <a:xfrm rot="10800000">
            <a:off x="9249917" y="1631024"/>
            <a:ext cx="749300" cy="3753759"/>
          </a:xfrm>
          <a:prstGeom prst="downArrow">
            <a:avLst/>
          </a:prstGeom>
          <a:solidFill>
            <a:srgbClr val="005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3" name="Textfeld 12"/>
          <p:cNvSpPr txBox="1"/>
          <p:nvPr/>
        </p:nvSpPr>
        <p:spPr>
          <a:xfrm>
            <a:off x="9067075" y="3277070"/>
            <a:ext cx="1245854" cy="461665"/>
          </a:xfrm>
          <a:prstGeom prst="rect">
            <a:avLst/>
          </a:prstGeom>
          <a:noFill/>
        </p:spPr>
        <p:txBody>
          <a:bodyPr wrap="none" rtlCol="0">
            <a:spAutoFit/>
          </a:bodyPr>
          <a:lstStyle/>
          <a:p>
            <a:r>
              <a:rPr lang="de-DE" sz="2400" dirty="0"/>
              <a:t>Priorität</a:t>
            </a:r>
          </a:p>
        </p:txBody>
      </p:sp>
      <p:sp>
        <p:nvSpPr>
          <p:cNvPr id="3" name="Rechteck 2"/>
          <p:cNvSpPr/>
          <p:nvPr/>
        </p:nvSpPr>
        <p:spPr>
          <a:xfrm>
            <a:off x="4394666" y="2698499"/>
            <a:ext cx="2198038" cy="369332"/>
          </a:xfrm>
          <a:prstGeom prst="rect">
            <a:avLst/>
          </a:prstGeom>
          <a:solidFill>
            <a:srgbClr val="0D5893"/>
          </a:solidFill>
        </p:spPr>
        <p:txBody>
          <a:bodyPr wrap="none">
            <a:spAutoFit/>
          </a:bodyPr>
          <a:lstStyle/>
          <a:p>
            <a:pPr marL="742950" indent="-742950"/>
            <a:r>
              <a:rPr lang="de-DE" b="1" dirty="0">
                <a:solidFill>
                  <a:schemeClr val="bg1"/>
                </a:solidFill>
              </a:rPr>
              <a:t>Industrial Security</a:t>
            </a:r>
          </a:p>
        </p:txBody>
      </p:sp>
      <p:sp>
        <p:nvSpPr>
          <p:cNvPr id="2" name="Titel 1"/>
          <p:cNvSpPr>
            <a:spLocks noGrp="1"/>
          </p:cNvSpPr>
          <p:nvPr>
            <p:ph type="title"/>
          </p:nvPr>
        </p:nvSpPr>
        <p:spPr/>
        <p:txBody>
          <a:bodyPr>
            <a:normAutofit fontScale="90000"/>
          </a:bodyPr>
          <a:lstStyle/>
          <a:p>
            <a:r>
              <a:rPr lang="de-DE" dirty="0" err="1"/>
              <a:t>Cyber</a:t>
            </a:r>
            <a:r>
              <a:rPr lang="de-DE" dirty="0"/>
              <a:t> Security Ziele – CIA im Kontext ICS</a:t>
            </a:r>
          </a:p>
        </p:txBody>
      </p:sp>
      <p:sp>
        <p:nvSpPr>
          <p:cNvPr id="15" name="Rechteck 14"/>
          <p:cNvSpPr/>
          <p:nvPr/>
        </p:nvSpPr>
        <p:spPr>
          <a:xfrm>
            <a:off x="624418" y="2402046"/>
            <a:ext cx="3688829" cy="1238909"/>
          </a:xfrm>
          <a:prstGeom prst="rect">
            <a:avLst/>
          </a:prstGeom>
          <a:solidFill>
            <a:srgbClr val="006DB6"/>
          </a:solidFill>
          <a:ln/>
        </p:spPr>
        <p:style>
          <a:lnRef idx="1">
            <a:schemeClr val="accent1"/>
          </a:lnRef>
          <a:fillRef idx="3">
            <a:schemeClr val="accent1"/>
          </a:fillRef>
          <a:effectRef idx="2">
            <a:schemeClr val="accent1"/>
          </a:effectRef>
          <a:fontRef idx="minor">
            <a:schemeClr val="lt1"/>
          </a:fontRef>
        </p:style>
        <p:txBody>
          <a:bodyPr rtlCol="0" anchor="t"/>
          <a:lstStyle/>
          <a:p>
            <a:r>
              <a:rPr lang="de-DE" b="1" dirty="0" err="1">
                <a:solidFill>
                  <a:schemeClr val="bg1"/>
                </a:solidFill>
              </a:rPr>
              <a:t>Integrity</a:t>
            </a:r>
            <a:r>
              <a:rPr lang="de-DE" b="1" dirty="0">
                <a:solidFill>
                  <a:schemeClr val="bg1"/>
                </a:solidFill>
              </a:rPr>
              <a:t>:</a:t>
            </a:r>
          </a:p>
          <a:p>
            <a:r>
              <a:rPr lang="de-DE" sz="1400" b="1" dirty="0">
                <a:solidFill>
                  <a:schemeClr val="bg1"/>
                </a:solidFill>
              </a:rPr>
              <a:t>Datenintegrität ist die Eigenschaft, dass Daten nicht auf unbefugte oder versehentliche Weise verändert, zerstört oder verloren wurden.</a:t>
            </a:r>
            <a:endParaRPr lang="de-DE" b="1" dirty="0">
              <a:solidFill>
                <a:schemeClr val="bg1"/>
              </a:solidFill>
            </a:endParaRPr>
          </a:p>
        </p:txBody>
      </p:sp>
      <p:sp>
        <p:nvSpPr>
          <p:cNvPr id="16" name="Rechteck 15"/>
          <p:cNvSpPr/>
          <p:nvPr/>
        </p:nvSpPr>
        <p:spPr>
          <a:xfrm>
            <a:off x="624417" y="4816120"/>
            <a:ext cx="3211680" cy="1231537"/>
          </a:xfrm>
          <a:prstGeom prst="rect">
            <a:avLst/>
          </a:prstGeom>
          <a:solidFill>
            <a:srgbClr val="006DB6"/>
          </a:solidFill>
          <a:ln/>
        </p:spPr>
        <p:style>
          <a:lnRef idx="1">
            <a:schemeClr val="accent1"/>
          </a:lnRef>
          <a:fillRef idx="3">
            <a:schemeClr val="accent1"/>
          </a:fillRef>
          <a:effectRef idx="2">
            <a:schemeClr val="accent1"/>
          </a:effectRef>
          <a:fontRef idx="minor">
            <a:schemeClr val="lt1"/>
          </a:fontRef>
        </p:style>
        <p:txBody>
          <a:bodyPr rtlCol="0" anchor="t"/>
          <a:lstStyle/>
          <a:p>
            <a:r>
              <a:rPr lang="de-DE" b="1" dirty="0" err="1">
                <a:solidFill>
                  <a:schemeClr val="bg1"/>
                </a:solidFill>
              </a:rPr>
              <a:t>Confidentiality</a:t>
            </a:r>
            <a:r>
              <a:rPr lang="de-DE" b="1" dirty="0">
                <a:solidFill>
                  <a:schemeClr val="bg1"/>
                </a:solidFill>
              </a:rPr>
              <a:t>:</a:t>
            </a:r>
          </a:p>
          <a:p>
            <a:r>
              <a:rPr lang="de-DE" sz="1400" b="1" dirty="0">
                <a:solidFill>
                  <a:schemeClr val="bg1"/>
                </a:solidFill>
              </a:rPr>
              <a:t>Vertraulichkeit ist die Zusicherung, dass Informationen nicht an unautorisierte Personen, Prozesse oder Geräte weitergegeben werden</a:t>
            </a:r>
            <a:endParaRPr lang="de-DE" b="1" dirty="0">
              <a:solidFill>
                <a:schemeClr val="bg1"/>
              </a:solidFill>
            </a:endParaRPr>
          </a:p>
        </p:txBody>
      </p:sp>
      <p:sp>
        <p:nvSpPr>
          <p:cNvPr id="17" name="Rechteck 16"/>
          <p:cNvSpPr/>
          <p:nvPr/>
        </p:nvSpPr>
        <p:spPr>
          <a:xfrm>
            <a:off x="5814150" y="4816120"/>
            <a:ext cx="3532479" cy="1231537"/>
          </a:xfrm>
          <a:prstGeom prst="rect">
            <a:avLst/>
          </a:prstGeom>
          <a:solidFill>
            <a:srgbClr val="006DB6"/>
          </a:solidFill>
          <a:ln/>
        </p:spPr>
        <p:style>
          <a:lnRef idx="1">
            <a:schemeClr val="accent1"/>
          </a:lnRef>
          <a:fillRef idx="3">
            <a:schemeClr val="accent1"/>
          </a:fillRef>
          <a:effectRef idx="2">
            <a:schemeClr val="accent1"/>
          </a:effectRef>
          <a:fontRef idx="minor">
            <a:schemeClr val="lt1"/>
          </a:fontRef>
        </p:style>
        <p:txBody>
          <a:bodyPr rtlCol="0" anchor="t"/>
          <a:lstStyle/>
          <a:p>
            <a:r>
              <a:rPr lang="de-DE" b="1" dirty="0">
                <a:solidFill>
                  <a:schemeClr val="bg1"/>
                </a:solidFill>
              </a:rPr>
              <a:t>Authenticity </a:t>
            </a:r>
            <a:r>
              <a:rPr lang="de-DE" b="1" dirty="0" err="1">
                <a:solidFill>
                  <a:schemeClr val="bg1"/>
                </a:solidFill>
              </a:rPr>
              <a:t>Accountability</a:t>
            </a:r>
            <a:r>
              <a:rPr lang="de-DE" b="1" dirty="0">
                <a:solidFill>
                  <a:schemeClr val="bg1"/>
                </a:solidFill>
              </a:rPr>
              <a:t>:</a:t>
            </a:r>
          </a:p>
          <a:p>
            <a:r>
              <a:rPr lang="de-DE" sz="1400" b="1" dirty="0">
                <a:solidFill>
                  <a:schemeClr val="bg1"/>
                </a:solidFill>
              </a:rPr>
              <a:t>Jede Person, die mit einem Informationssystem arbeitet, hat spezifische Verantwortlichkeiten für die Informationssicherung.</a:t>
            </a:r>
            <a:endParaRPr lang="de-DE" b="1" dirty="0">
              <a:solidFill>
                <a:schemeClr val="bg1"/>
              </a:solidFill>
            </a:endParaRPr>
          </a:p>
        </p:txBody>
      </p:sp>
      <p:sp>
        <p:nvSpPr>
          <p:cNvPr id="8" name="Fußzeilenplatzhalter 7"/>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9" name="Foliennummernplatzhalter 8"/>
          <p:cNvSpPr>
            <a:spLocks noGrp="1"/>
          </p:cNvSpPr>
          <p:nvPr>
            <p:ph type="sldNum" sz="quarter" idx="16"/>
          </p:nvPr>
        </p:nvSpPr>
        <p:spPr/>
        <p:txBody>
          <a:bodyPr/>
          <a:lstStyle/>
          <a:p>
            <a:fld id="{61F2C2C2-1EE4-4D60-B09F-2141F977BFAA}" type="slidenum">
              <a:rPr lang="de-DE" altLang="de-DE" smtClean="0"/>
              <a:pPr/>
              <a:t>55</a:t>
            </a:fld>
            <a:endParaRPr lang="de-DE" altLang="de-DE"/>
          </a:p>
        </p:txBody>
      </p:sp>
    </p:spTree>
    <p:extLst>
      <p:ext uri="{BB962C8B-B14F-4D97-AF65-F5344CB8AC3E}">
        <p14:creationId xmlns:p14="http://schemas.microsoft.com/office/powerpoint/2010/main" val="12210794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A0FE85B-7F88-952D-864D-8DD2F8AAD7D2}"/>
              </a:ext>
            </a:extLst>
          </p:cNvPr>
          <p:cNvSpPr>
            <a:spLocks noGrp="1"/>
          </p:cNvSpPr>
          <p:nvPr>
            <p:ph type="title"/>
          </p:nvPr>
        </p:nvSpPr>
        <p:spPr>
          <a:xfrm>
            <a:off x="624419" y="452967"/>
            <a:ext cx="11425341" cy="483296"/>
          </a:xfrm>
        </p:spPr>
        <p:txBody>
          <a:bodyPr>
            <a:normAutofit fontScale="90000"/>
          </a:bodyPr>
          <a:lstStyle/>
          <a:p>
            <a:pPr>
              <a:lnSpc>
                <a:spcPct val="100000"/>
              </a:lnSpc>
            </a:pPr>
            <a:r>
              <a:rPr lang="de-CH" dirty="0"/>
              <a:t>Umsetzung von ganzheitlichen </a:t>
            </a:r>
            <a:r>
              <a:rPr lang="de-CH" dirty="0" err="1"/>
              <a:t>Cyber</a:t>
            </a:r>
            <a:r>
              <a:rPr lang="de-CH" dirty="0"/>
              <a:t> Security Maßnahmen in produzierenden Unternehmen am Beispiel der IEC 62443</a:t>
            </a:r>
          </a:p>
        </p:txBody>
      </p:sp>
      <p:sp>
        <p:nvSpPr>
          <p:cNvPr id="4" name="Fußzeilenplatzhalter 3">
            <a:extLst>
              <a:ext uri="{FF2B5EF4-FFF2-40B4-BE49-F238E27FC236}">
                <a16:creationId xmlns:a16="http://schemas.microsoft.com/office/drawing/2014/main" id="{A0B33793-91D3-D251-D098-3C1CE47F1D4B}"/>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35BD41E6-6317-E54F-E2BF-2E0E6520DC13}"/>
              </a:ext>
            </a:extLst>
          </p:cNvPr>
          <p:cNvSpPr>
            <a:spLocks noGrp="1"/>
          </p:cNvSpPr>
          <p:nvPr>
            <p:ph type="sldNum" sz="quarter" idx="16"/>
          </p:nvPr>
        </p:nvSpPr>
        <p:spPr/>
        <p:txBody>
          <a:bodyPr/>
          <a:lstStyle/>
          <a:p>
            <a:fld id="{61F2C2C2-1EE4-4D60-B09F-2141F977BFAA}" type="slidenum">
              <a:rPr lang="de-DE" altLang="de-DE" smtClean="0"/>
              <a:pPr/>
              <a:t>56</a:t>
            </a:fld>
            <a:endParaRPr lang="de-DE" altLang="de-DE"/>
          </a:p>
        </p:txBody>
      </p:sp>
      <p:grpSp>
        <p:nvGrpSpPr>
          <p:cNvPr id="34" name="Gruppieren 33">
            <a:extLst>
              <a:ext uri="{FF2B5EF4-FFF2-40B4-BE49-F238E27FC236}">
                <a16:creationId xmlns:a16="http://schemas.microsoft.com/office/drawing/2014/main" id="{8C1A2DD6-F497-B2AA-5B02-1D0A436ABDA2}"/>
              </a:ext>
            </a:extLst>
          </p:cNvPr>
          <p:cNvGrpSpPr/>
          <p:nvPr/>
        </p:nvGrpSpPr>
        <p:grpSpPr>
          <a:xfrm>
            <a:off x="839260" y="694615"/>
            <a:ext cx="10071572" cy="5605003"/>
            <a:chOff x="468313" y="308117"/>
            <a:chExt cx="8175503" cy="4549808"/>
          </a:xfrm>
        </p:grpSpPr>
        <p:grpSp>
          <p:nvGrpSpPr>
            <p:cNvPr id="35" name="Gruppieren 34">
              <a:extLst>
                <a:ext uri="{FF2B5EF4-FFF2-40B4-BE49-F238E27FC236}">
                  <a16:creationId xmlns:a16="http://schemas.microsoft.com/office/drawing/2014/main" id="{95AF1DD4-60EB-4183-346C-770E2FADD9B7}"/>
                </a:ext>
              </a:extLst>
            </p:cNvPr>
            <p:cNvGrpSpPr/>
            <p:nvPr/>
          </p:nvGrpSpPr>
          <p:grpSpPr>
            <a:xfrm>
              <a:off x="468313" y="778698"/>
              <a:ext cx="8175503" cy="4079227"/>
              <a:chOff x="468313" y="778698"/>
              <a:chExt cx="8175503" cy="4079227"/>
            </a:xfrm>
          </p:grpSpPr>
          <p:sp>
            <p:nvSpPr>
              <p:cNvPr id="37" name="Rechteck 36">
                <a:extLst>
                  <a:ext uri="{FF2B5EF4-FFF2-40B4-BE49-F238E27FC236}">
                    <a16:creationId xmlns:a16="http://schemas.microsoft.com/office/drawing/2014/main" id="{2CB31EE0-FA82-E85B-2E31-1366737FA904}"/>
                  </a:ext>
                </a:extLst>
              </p:cNvPr>
              <p:cNvSpPr/>
              <p:nvPr/>
            </p:nvSpPr>
            <p:spPr>
              <a:xfrm>
                <a:off x="468313" y="778698"/>
                <a:ext cx="8147613" cy="4079225"/>
              </a:xfrm>
              <a:prstGeom prst="rect">
                <a:avLst/>
              </a:prstGeom>
              <a:solidFill>
                <a:srgbClr val="D6EAF8">
                  <a:lumMod val="50000"/>
                  <a:alpha val="35000"/>
                </a:srgbClr>
              </a:solidFill>
              <a:ln w="25400" cap="flat" cmpd="sng" algn="ctr">
                <a:noFill/>
                <a:prstDash val="solid"/>
              </a:ln>
              <a:effectLst/>
            </p:spPr>
            <p:txBody>
              <a:bodyPr lIns="68580" tIns="34290" rIns="68580" bIns="3429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mj-lt"/>
                </a:endParaRPr>
              </a:p>
            </p:txBody>
          </p:sp>
          <p:sp>
            <p:nvSpPr>
              <p:cNvPr id="38" name="Freihandform 11">
                <a:extLst>
                  <a:ext uri="{FF2B5EF4-FFF2-40B4-BE49-F238E27FC236}">
                    <a16:creationId xmlns:a16="http://schemas.microsoft.com/office/drawing/2014/main" id="{73FE2F2A-C17F-8951-F19A-19A6C2B4DB0E}"/>
                  </a:ext>
                </a:extLst>
              </p:cNvPr>
              <p:cNvSpPr/>
              <p:nvPr/>
            </p:nvSpPr>
            <p:spPr>
              <a:xfrm>
                <a:off x="4934776" y="3536764"/>
                <a:ext cx="3000421" cy="1278569"/>
              </a:xfrm>
              <a:custGeom>
                <a:avLst/>
                <a:gdLst>
                  <a:gd name="connsiteX0" fmla="*/ 0 w 1973792"/>
                  <a:gd name="connsiteY0" fmla="*/ 127857 h 1278569"/>
                  <a:gd name="connsiteX1" fmla="*/ 127857 w 1973792"/>
                  <a:gd name="connsiteY1" fmla="*/ 0 h 1278569"/>
                  <a:gd name="connsiteX2" fmla="*/ 1845935 w 1973792"/>
                  <a:gd name="connsiteY2" fmla="*/ 0 h 1278569"/>
                  <a:gd name="connsiteX3" fmla="*/ 1973792 w 1973792"/>
                  <a:gd name="connsiteY3" fmla="*/ 127857 h 1278569"/>
                  <a:gd name="connsiteX4" fmla="*/ 1973792 w 1973792"/>
                  <a:gd name="connsiteY4" fmla="*/ 1150712 h 1278569"/>
                  <a:gd name="connsiteX5" fmla="*/ 1845935 w 1973792"/>
                  <a:gd name="connsiteY5" fmla="*/ 1278569 h 1278569"/>
                  <a:gd name="connsiteX6" fmla="*/ 127857 w 1973792"/>
                  <a:gd name="connsiteY6" fmla="*/ 1278569 h 1278569"/>
                  <a:gd name="connsiteX7" fmla="*/ 0 w 1973792"/>
                  <a:gd name="connsiteY7" fmla="*/ 1150712 h 1278569"/>
                  <a:gd name="connsiteX8" fmla="*/ 0 w 1973792"/>
                  <a:gd name="connsiteY8" fmla="*/ 127857 h 12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3792" h="1278569">
                    <a:moveTo>
                      <a:pt x="0" y="127857"/>
                    </a:moveTo>
                    <a:cubicBezTo>
                      <a:pt x="0" y="57244"/>
                      <a:pt x="57244" y="0"/>
                      <a:pt x="127857" y="0"/>
                    </a:cubicBezTo>
                    <a:lnTo>
                      <a:pt x="1845935" y="0"/>
                    </a:lnTo>
                    <a:cubicBezTo>
                      <a:pt x="1916548" y="0"/>
                      <a:pt x="1973792" y="57244"/>
                      <a:pt x="1973792" y="127857"/>
                    </a:cubicBezTo>
                    <a:lnTo>
                      <a:pt x="1973792" y="1150712"/>
                    </a:lnTo>
                    <a:cubicBezTo>
                      <a:pt x="1973792" y="1221325"/>
                      <a:pt x="1916548" y="1278569"/>
                      <a:pt x="1845935" y="1278569"/>
                    </a:cubicBezTo>
                    <a:lnTo>
                      <a:pt x="127857" y="1278569"/>
                    </a:lnTo>
                    <a:cubicBezTo>
                      <a:pt x="57244" y="1278569"/>
                      <a:pt x="0" y="1221325"/>
                      <a:pt x="0" y="1150712"/>
                    </a:cubicBezTo>
                    <a:lnTo>
                      <a:pt x="0" y="127857"/>
                    </a:lnTo>
                    <a:close/>
                  </a:path>
                </a:pathLst>
              </a:custGeom>
              <a:solidFill>
                <a:srgbClr val="FFFFFF">
                  <a:alpha val="90000"/>
                  <a:hueOff val="0"/>
                  <a:satOff val="0"/>
                  <a:lumOff val="0"/>
                  <a:alphaOff val="0"/>
                </a:srgbClr>
              </a:solidFill>
              <a:ln w="9525" cap="flat" cmpd="sng" algn="ctr">
                <a:solidFill>
                  <a:srgbClr val="BBE0E3">
                    <a:hueOff val="0"/>
                    <a:satOff val="0"/>
                    <a:lumOff val="0"/>
                    <a:alphaOff val="0"/>
                  </a:srgbClr>
                </a:solidFill>
                <a:prstDash val="solid"/>
              </a:ln>
              <a:effectLst/>
            </p:spPr>
            <p:txBody>
              <a:bodyPr spcFirstLastPara="0" vert="horz" wrap="square" lIns="673564" tIns="401068" rIns="81426" bIns="81426" numCol="1" spcCol="1270" anchor="t" anchorCtr="0">
                <a:noAutofit/>
              </a:bodyPr>
              <a:lstStyle/>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Einteilung in Security Level von 1-4 </a:t>
                </a:r>
              </a:p>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Wie gut ist Schutz gegen </a:t>
                </a:r>
                <a:r>
                  <a:rPr kumimoji="0" lang="de-DE" sz="1400" b="0" i="0" u="none" strike="noStrike" kern="0" cap="none" spc="0" normalizeH="0" baseline="0" noProof="0" dirty="0" err="1">
                    <a:ln>
                      <a:noFill/>
                    </a:ln>
                    <a:solidFill>
                      <a:srgbClr val="000000">
                        <a:hueOff val="0"/>
                        <a:satOff val="0"/>
                        <a:lumOff val="0"/>
                        <a:alphaOff val="0"/>
                      </a:srgbClr>
                    </a:solidFill>
                    <a:effectLst/>
                    <a:uLnTx/>
                    <a:uFillTx/>
                    <a:latin typeface="+mj-lt"/>
                    <a:ea typeface="+mn-ea"/>
                    <a:cs typeface="+mn-cs"/>
                  </a:rPr>
                  <a:t>verscheidene</a:t>
                </a: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 Angreifer</a:t>
                </a:r>
              </a:p>
              <a:p>
                <a:pPr marL="114300" marR="0" lvl="1" indent="-114300" defTabSz="622300" eaLnBrk="1" fontAlgn="auto" latinLnBrk="0" hangingPunct="1">
                  <a:lnSpc>
                    <a:spcPct val="90000"/>
                  </a:lnSpc>
                  <a:spcBef>
                    <a:spcPct val="0"/>
                  </a:spcBef>
                  <a:spcAft>
                    <a:spcPct val="15000"/>
                  </a:spcAft>
                  <a:buClrTx/>
                  <a:buSzTx/>
                  <a:buFontTx/>
                  <a:buChar char="••"/>
                  <a:tabLst/>
                  <a:defRPr/>
                </a:pPr>
                <a:endPar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endParaRPr>
              </a:p>
              <a:p>
                <a:pPr marL="114300" marR="0" lvl="1" indent="-114300" defTabSz="622300" eaLnBrk="1" fontAlgn="auto" latinLnBrk="0" hangingPunct="1">
                  <a:lnSpc>
                    <a:spcPct val="90000"/>
                  </a:lnSpc>
                  <a:spcBef>
                    <a:spcPct val="0"/>
                  </a:spcBef>
                  <a:spcAft>
                    <a:spcPct val="15000"/>
                  </a:spcAft>
                  <a:buClrTx/>
                  <a:buSzTx/>
                  <a:buFontTx/>
                  <a:buChar char="••"/>
                  <a:tabLst/>
                  <a:defRPr/>
                </a:pPr>
                <a:endPar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endParaRPr>
              </a:p>
            </p:txBody>
          </p:sp>
          <p:sp>
            <p:nvSpPr>
              <p:cNvPr id="39" name="Freihandform 12">
                <a:extLst>
                  <a:ext uri="{FF2B5EF4-FFF2-40B4-BE49-F238E27FC236}">
                    <a16:creationId xmlns:a16="http://schemas.microsoft.com/office/drawing/2014/main" id="{B4DE6DBE-0A6F-3C2A-E110-0914E96D33CC}"/>
                  </a:ext>
                </a:extLst>
              </p:cNvPr>
              <p:cNvSpPr/>
              <p:nvPr/>
            </p:nvSpPr>
            <p:spPr>
              <a:xfrm>
                <a:off x="887236" y="3536764"/>
                <a:ext cx="2684126" cy="1278569"/>
              </a:xfrm>
              <a:custGeom>
                <a:avLst/>
                <a:gdLst>
                  <a:gd name="connsiteX0" fmla="*/ 0 w 1973792"/>
                  <a:gd name="connsiteY0" fmla="*/ 127857 h 1278569"/>
                  <a:gd name="connsiteX1" fmla="*/ 127857 w 1973792"/>
                  <a:gd name="connsiteY1" fmla="*/ 0 h 1278569"/>
                  <a:gd name="connsiteX2" fmla="*/ 1845935 w 1973792"/>
                  <a:gd name="connsiteY2" fmla="*/ 0 h 1278569"/>
                  <a:gd name="connsiteX3" fmla="*/ 1973792 w 1973792"/>
                  <a:gd name="connsiteY3" fmla="*/ 127857 h 1278569"/>
                  <a:gd name="connsiteX4" fmla="*/ 1973792 w 1973792"/>
                  <a:gd name="connsiteY4" fmla="*/ 1150712 h 1278569"/>
                  <a:gd name="connsiteX5" fmla="*/ 1845935 w 1973792"/>
                  <a:gd name="connsiteY5" fmla="*/ 1278569 h 1278569"/>
                  <a:gd name="connsiteX6" fmla="*/ 127857 w 1973792"/>
                  <a:gd name="connsiteY6" fmla="*/ 1278569 h 1278569"/>
                  <a:gd name="connsiteX7" fmla="*/ 0 w 1973792"/>
                  <a:gd name="connsiteY7" fmla="*/ 1150712 h 1278569"/>
                  <a:gd name="connsiteX8" fmla="*/ 0 w 1973792"/>
                  <a:gd name="connsiteY8" fmla="*/ 127857 h 12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3792" h="1278569">
                    <a:moveTo>
                      <a:pt x="0" y="127857"/>
                    </a:moveTo>
                    <a:cubicBezTo>
                      <a:pt x="0" y="57244"/>
                      <a:pt x="57244" y="0"/>
                      <a:pt x="127857" y="0"/>
                    </a:cubicBezTo>
                    <a:lnTo>
                      <a:pt x="1845935" y="0"/>
                    </a:lnTo>
                    <a:cubicBezTo>
                      <a:pt x="1916548" y="0"/>
                      <a:pt x="1973792" y="57244"/>
                      <a:pt x="1973792" y="127857"/>
                    </a:cubicBezTo>
                    <a:lnTo>
                      <a:pt x="1973792" y="1150712"/>
                    </a:lnTo>
                    <a:cubicBezTo>
                      <a:pt x="1973792" y="1221325"/>
                      <a:pt x="1916548" y="1278569"/>
                      <a:pt x="1845935" y="1278569"/>
                    </a:cubicBezTo>
                    <a:lnTo>
                      <a:pt x="127857" y="1278569"/>
                    </a:lnTo>
                    <a:cubicBezTo>
                      <a:pt x="57244" y="1278569"/>
                      <a:pt x="0" y="1221325"/>
                      <a:pt x="0" y="1150712"/>
                    </a:cubicBezTo>
                    <a:lnTo>
                      <a:pt x="0" y="127857"/>
                    </a:lnTo>
                    <a:close/>
                  </a:path>
                </a:pathLst>
              </a:custGeom>
              <a:solidFill>
                <a:srgbClr val="FFFFFF">
                  <a:alpha val="90000"/>
                  <a:hueOff val="0"/>
                  <a:satOff val="0"/>
                  <a:lumOff val="0"/>
                  <a:alphaOff val="0"/>
                </a:srgbClr>
              </a:solidFill>
              <a:ln w="9525" cap="flat" cmpd="sng" algn="ctr">
                <a:solidFill>
                  <a:srgbClr val="BBE0E3">
                    <a:hueOff val="0"/>
                    <a:satOff val="0"/>
                    <a:lumOff val="0"/>
                    <a:alphaOff val="0"/>
                  </a:srgbClr>
                </a:solidFill>
                <a:prstDash val="solid"/>
              </a:ln>
              <a:effectLst/>
            </p:spPr>
            <p:txBody>
              <a:bodyPr spcFirstLastPara="0" vert="horz" wrap="square" lIns="81426" tIns="401068" rIns="673564" bIns="81426" numCol="1" spcCol="1270" anchor="t" anchorCtr="0">
                <a:noAutofit/>
              </a:bodyPr>
              <a:lstStyle/>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Grundlegende</a:t>
                </a:r>
                <a:b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b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Anforderungen (FR)</a:t>
                </a:r>
              </a:p>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Technische System-anforderungen (SR)</a:t>
                </a:r>
              </a:p>
              <a:p>
                <a:pPr marL="114300" marR="0" lvl="1" indent="-114300" defTabSz="622300" eaLnBrk="1" fontAlgn="auto" latinLnBrk="0" hangingPunct="1">
                  <a:lnSpc>
                    <a:spcPct val="90000"/>
                  </a:lnSpc>
                  <a:spcBef>
                    <a:spcPct val="0"/>
                  </a:spcBef>
                  <a:spcAft>
                    <a:spcPct val="15000"/>
                  </a:spcAft>
                  <a:buClrTx/>
                  <a:buSzTx/>
                  <a:buFontTx/>
                  <a:buChar char="••"/>
                  <a:tabLst/>
                  <a:defRPr/>
                </a:pPr>
                <a:endPar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endParaRPr>
              </a:p>
              <a:p>
                <a:pPr marL="114300" marR="0" lvl="1" indent="-114300" defTabSz="622300" eaLnBrk="1" fontAlgn="auto" latinLnBrk="0" hangingPunct="1">
                  <a:lnSpc>
                    <a:spcPct val="90000"/>
                  </a:lnSpc>
                  <a:spcBef>
                    <a:spcPct val="0"/>
                  </a:spcBef>
                  <a:spcAft>
                    <a:spcPct val="15000"/>
                  </a:spcAft>
                  <a:buClrTx/>
                  <a:buSzTx/>
                  <a:buFontTx/>
                  <a:buChar char="••"/>
                  <a:tabLst/>
                  <a:defRPr/>
                </a:pPr>
                <a:endPar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endParaRPr>
              </a:p>
            </p:txBody>
          </p:sp>
          <p:sp>
            <p:nvSpPr>
              <p:cNvPr id="40" name="Freihandform 13">
                <a:extLst>
                  <a:ext uri="{FF2B5EF4-FFF2-40B4-BE49-F238E27FC236}">
                    <a16:creationId xmlns:a16="http://schemas.microsoft.com/office/drawing/2014/main" id="{3137643C-80B2-E8BA-683B-13085387B9F8}"/>
                  </a:ext>
                </a:extLst>
              </p:cNvPr>
              <p:cNvSpPr/>
              <p:nvPr/>
            </p:nvSpPr>
            <p:spPr>
              <a:xfrm>
                <a:off x="4817967" y="819803"/>
                <a:ext cx="2928200" cy="1278569"/>
              </a:xfrm>
              <a:custGeom>
                <a:avLst/>
                <a:gdLst>
                  <a:gd name="connsiteX0" fmla="*/ 0 w 1973792"/>
                  <a:gd name="connsiteY0" fmla="*/ 127857 h 1278569"/>
                  <a:gd name="connsiteX1" fmla="*/ 127857 w 1973792"/>
                  <a:gd name="connsiteY1" fmla="*/ 0 h 1278569"/>
                  <a:gd name="connsiteX2" fmla="*/ 1845935 w 1973792"/>
                  <a:gd name="connsiteY2" fmla="*/ 0 h 1278569"/>
                  <a:gd name="connsiteX3" fmla="*/ 1973792 w 1973792"/>
                  <a:gd name="connsiteY3" fmla="*/ 127857 h 1278569"/>
                  <a:gd name="connsiteX4" fmla="*/ 1973792 w 1973792"/>
                  <a:gd name="connsiteY4" fmla="*/ 1150712 h 1278569"/>
                  <a:gd name="connsiteX5" fmla="*/ 1845935 w 1973792"/>
                  <a:gd name="connsiteY5" fmla="*/ 1278569 h 1278569"/>
                  <a:gd name="connsiteX6" fmla="*/ 127857 w 1973792"/>
                  <a:gd name="connsiteY6" fmla="*/ 1278569 h 1278569"/>
                  <a:gd name="connsiteX7" fmla="*/ 0 w 1973792"/>
                  <a:gd name="connsiteY7" fmla="*/ 1150712 h 1278569"/>
                  <a:gd name="connsiteX8" fmla="*/ 0 w 1973792"/>
                  <a:gd name="connsiteY8" fmla="*/ 127857 h 12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3792" h="1278569">
                    <a:moveTo>
                      <a:pt x="0" y="127857"/>
                    </a:moveTo>
                    <a:cubicBezTo>
                      <a:pt x="0" y="57244"/>
                      <a:pt x="57244" y="0"/>
                      <a:pt x="127857" y="0"/>
                    </a:cubicBezTo>
                    <a:lnTo>
                      <a:pt x="1845935" y="0"/>
                    </a:lnTo>
                    <a:cubicBezTo>
                      <a:pt x="1916548" y="0"/>
                      <a:pt x="1973792" y="57244"/>
                      <a:pt x="1973792" y="127857"/>
                    </a:cubicBezTo>
                    <a:lnTo>
                      <a:pt x="1973792" y="1150712"/>
                    </a:lnTo>
                    <a:cubicBezTo>
                      <a:pt x="1973792" y="1221325"/>
                      <a:pt x="1916548" y="1278569"/>
                      <a:pt x="1845935" y="1278569"/>
                    </a:cubicBezTo>
                    <a:lnTo>
                      <a:pt x="127857" y="1278569"/>
                    </a:lnTo>
                    <a:cubicBezTo>
                      <a:pt x="57244" y="1278569"/>
                      <a:pt x="0" y="1221325"/>
                      <a:pt x="0" y="1150712"/>
                    </a:cubicBezTo>
                    <a:lnTo>
                      <a:pt x="0" y="127857"/>
                    </a:lnTo>
                    <a:close/>
                  </a:path>
                </a:pathLst>
              </a:custGeom>
              <a:solidFill>
                <a:srgbClr val="FFFFFF">
                  <a:alpha val="90000"/>
                  <a:hueOff val="0"/>
                  <a:satOff val="0"/>
                  <a:lumOff val="0"/>
                  <a:alphaOff val="0"/>
                </a:srgbClr>
              </a:solidFill>
              <a:ln w="9525" cap="flat" cmpd="sng" algn="ctr">
                <a:solidFill>
                  <a:srgbClr val="BBE0E3">
                    <a:hueOff val="0"/>
                    <a:satOff val="0"/>
                    <a:lumOff val="0"/>
                    <a:alphaOff val="0"/>
                  </a:srgbClr>
                </a:solidFill>
                <a:prstDash val="solid"/>
              </a:ln>
              <a:effectLst/>
            </p:spPr>
            <p:txBody>
              <a:bodyPr spcFirstLastPara="0" vert="horz" wrap="square" lIns="673564" tIns="81426" rIns="81426" bIns="401068" numCol="1" spcCol="1270" anchor="t" anchorCtr="0">
                <a:noAutofit/>
              </a:bodyPr>
              <a:lstStyle/>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Netzwerksegmentierung</a:t>
                </a:r>
              </a:p>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Einteilung in Zonen</a:t>
                </a:r>
              </a:p>
            </p:txBody>
          </p:sp>
          <p:sp>
            <p:nvSpPr>
              <p:cNvPr id="41" name="Freihandform 14">
                <a:extLst>
                  <a:ext uri="{FF2B5EF4-FFF2-40B4-BE49-F238E27FC236}">
                    <a16:creationId xmlns:a16="http://schemas.microsoft.com/office/drawing/2014/main" id="{7A71C9DD-74E9-B462-96D9-11FA79BAFFDD}"/>
                  </a:ext>
                </a:extLst>
              </p:cNvPr>
              <p:cNvSpPr/>
              <p:nvPr/>
            </p:nvSpPr>
            <p:spPr>
              <a:xfrm>
                <a:off x="887236" y="819803"/>
                <a:ext cx="2684126" cy="1278569"/>
              </a:xfrm>
              <a:custGeom>
                <a:avLst/>
                <a:gdLst>
                  <a:gd name="connsiteX0" fmla="*/ 0 w 1973792"/>
                  <a:gd name="connsiteY0" fmla="*/ 127857 h 1278569"/>
                  <a:gd name="connsiteX1" fmla="*/ 127857 w 1973792"/>
                  <a:gd name="connsiteY1" fmla="*/ 0 h 1278569"/>
                  <a:gd name="connsiteX2" fmla="*/ 1845935 w 1973792"/>
                  <a:gd name="connsiteY2" fmla="*/ 0 h 1278569"/>
                  <a:gd name="connsiteX3" fmla="*/ 1973792 w 1973792"/>
                  <a:gd name="connsiteY3" fmla="*/ 127857 h 1278569"/>
                  <a:gd name="connsiteX4" fmla="*/ 1973792 w 1973792"/>
                  <a:gd name="connsiteY4" fmla="*/ 1150712 h 1278569"/>
                  <a:gd name="connsiteX5" fmla="*/ 1845935 w 1973792"/>
                  <a:gd name="connsiteY5" fmla="*/ 1278569 h 1278569"/>
                  <a:gd name="connsiteX6" fmla="*/ 127857 w 1973792"/>
                  <a:gd name="connsiteY6" fmla="*/ 1278569 h 1278569"/>
                  <a:gd name="connsiteX7" fmla="*/ 0 w 1973792"/>
                  <a:gd name="connsiteY7" fmla="*/ 1150712 h 1278569"/>
                  <a:gd name="connsiteX8" fmla="*/ 0 w 1973792"/>
                  <a:gd name="connsiteY8" fmla="*/ 127857 h 12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3792" h="1278569">
                    <a:moveTo>
                      <a:pt x="0" y="127857"/>
                    </a:moveTo>
                    <a:cubicBezTo>
                      <a:pt x="0" y="57244"/>
                      <a:pt x="57244" y="0"/>
                      <a:pt x="127857" y="0"/>
                    </a:cubicBezTo>
                    <a:lnTo>
                      <a:pt x="1845935" y="0"/>
                    </a:lnTo>
                    <a:cubicBezTo>
                      <a:pt x="1916548" y="0"/>
                      <a:pt x="1973792" y="57244"/>
                      <a:pt x="1973792" y="127857"/>
                    </a:cubicBezTo>
                    <a:lnTo>
                      <a:pt x="1973792" y="1150712"/>
                    </a:lnTo>
                    <a:cubicBezTo>
                      <a:pt x="1973792" y="1221325"/>
                      <a:pt x="1916548" y="1278569"/>
                      <a:pt x="1845935" y="1278569"/>
                    </a:cubicBezTo>
                    <a:lnTo>
                      <a:pt x="127857" y="1278569"/>
                    </a:lnTo>
                    <a:cubicBezTo>
                      <a:pt x="57244" y="1278569"/>
                      <a:pt x="0" y="1221325"/>
                      <a:pt x="0" y="1150712"/>
                    </a:cubicBezTo>
                    <a:lnTo>
                      <a:pt x="0" y="127857"/>
                    </a:lnTo>
                    <a:close/>
                  </a:path>
                </a:pathLst>
              </a:custGeom>
              <a:solidFill>
                <a:srgbClr val="FFFFFF">
                  <a:alpha val="90000"/>
                  <a:hueOff val="0"/>
                  <a:satOff val="0"/>
                  <a:lumOff val="0"/>
                  <a:alphaOff val="0"/>
                </a:srgbClr>
              </a:solidFill>
              <a:ln w="9525" cap="flat" cmpd="sng" algn="ctr">
                <a:solidFill>
                  <a:srgbClr val="BBE0E3">
                    <a:hueOff val="0"/>
                    <a:satOff val="0"/>
                    <a:lumOff val="0"/>
                    <a:alphaOff val="0"/>
                  </a:srgbClr>
                </a:solidFill>
                <a:prstDash val="solid"/>
              </a:ln>
              <a:effectLst/>
            </p:spPr>
            <p:txBody>
              <a:bodyPr spcFirstLastPara="0" vert="horz" wrap="square" lIns="81426" tIns="81426" rIns="673564" bIns="401068" numCol="1" spcCol="1270" anchor="t" anchorCtr="0">
                <a:noAutofit/>
              </a:bodyPr>
              <a:lstStyle/>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Risikobewertung</a:t>
                </a:r>
              </a:p>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Schutzmaßnahmen</a:t>
                </a:r>
              </a:p>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Effizienzbewertung</a:t>
                </a:r>
              </a:p>
              <a:p>
                <a:pPr marL="114300" marR="0" lvl="1" indent="-114300" defTabSz="622300" eaLnBrk="1" fontAlgn="auto" latinLnBrk="0" hangingPunct="1">
                  <a:lnSpc>
                    <a:spcPct val="90000"/>
                  </a:lnSpc>
                  <a:spcBef>
                    <a:spcPct val="0"/>
                  </a:spcBef>
                  <a:spcAft>
                    <a:spcPct val="15000"/>
                  </a:spcAft>
                  <a:buClrTx/>
                  <a:buSzTx/>
                  <a:buFontTx/>
                  <a:buChar char="••"/>
                  <a:tabLst/>
                  <a:defRPr/>
                </a:pP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Umsetzung</a:t>
                </a:r>
                <a:b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br>
                <a:r>
                  <a:rPr kumimoji="0" lang="de-DE" sz="14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rPr>
                  <a:t>VDI/VDE 2182</a:t>
                </a:r>
              </a:p>
              <a:p>
                <a:pPr marL="57150" marR="0" lvl="1" indent="-57150" defTabSz="400050" eaLnBrk="1" fontAlgn="auto" latinLnBrk="0" hangingPunct="1">
                  <a:lnSpc>
                    <a:spcPct val="90000"/>
                  </a:lnSpc>
                  <a:spcBef>
                    <a:spcPct val="0"/>
                  </a:spcBef>
                  <a:spcAft>
                    <a:spcPct val="15000"/>
                  </a:spcAft>
                  <a:buClrTx/>
                  <a:buSzTx/>
                  <a:buFontTx/>
                  <a:buChar char="••"/>
                  <a:tabLst/>
                  <a:defRPr/>
                </a:pPr>
                <a:endParaRPr kumimoji="0" lang="de-DE" sz="900" b="0" i="0" u="none" strike="noStrike" kern="0" cap="none" spc="0" normalizeH="0" baseline="0" noProof="0" dirty="0">
                  <a:ln>
                    <a:noFill/>
                  </a:ln>
                  <a:solidFill>
                    <a:srgbClr val="000000">
                      <a:hueOff val="0"/>
                      <a:satOff val="0"/>
                      <a:lumOff val="0"/>
                      <a:alphaOff val="0"/>
                    </a:srgbClr>
                  </a:solidFill>
                  <a:effectLst/>
                  <a:uLnTx/>
                  <a:uFillTx/>
                  <a:latin typeface="+mj-lt"/>
                  <a:ea typeface="+mn-ea"/>
                  <a:cs typeface="+mn-cs"/>
                </a:endParaRPr>
              </a:p>
            </p:txBody>
          </p:sp>
          <p:sp>
            <p:nvSpPr>
              <p:cNvPr id="42" name="Freihandform 15">
                <a:extLst>
                  <a:ext uri="{FF2B5EF4-FFF2-40B4-BE49-F238E27FC236}">
                    <a16:creationId xmlns:a16="http://schemas.microsoft.com/office/drawing/2014/main" id="{A55F6A7E-DF91-5B25-2BBB-7A908699DFF2}"/>
                  </a:ext>
                </a:extLst>
              </p:cNvPr>
              <p:cNvSpPr/>
              <p:nvPr/>
            </p:nvSpPr>
            <p:spPr>
              <a:xfrm>
                <a:off x="2272245" y="1053644"/>
                <a:ext cx="1730064" cy="1730064"/>
              </a:xfrm>
              <a:custGeom>
                <a:avLst/>
                <a:gdLst>
                  <a:gd name="connsiteX0" fmla="*/ 0 w 1730064"/>
                  <a:gd name="connsiteY0" fmla="*/ 1730064 h 1730064"/>
                  <a:gd name="connsiteX1" fmla="*/ 1730064 w 1730064"/>
                  <a:gd name="connsiteY1" fmla="*/ 0 h 1730064"/>
                  <a:gd name="connsiteX2" fmla="*/ 1730064 w 1730064"/>
                  <a:gd name="connsiteY2" fmla="*/ 1730064 h 1730064"/>
                  <a:gd name="connsiteX3" fmla="*/ 0 w 1730064"/>
                  <a:gd name="connsiteY3" fmla="*/ 1730064 h 1730064"/>
                </a:gdLst>
                <a:ahLst/>
                <a:cxnLst>
                  <a:cxn ang="0">
                    <a:pos x="connsiteX0" y="connsiteY0"/>
                  </a:cxn>
                  <a:cxn ang="0">
                    <a:pos x="connsiteX1" y="connsiteY1"/>
                  </a:cxn>
                  <a:cxn ang="0">
                    <a:pos x="connsiteX2" y="connsiteY2"/>
                  </a:cxn>
                  <a:cxn ang="0">
                    <a:pos x="connsiteX3" y="connsiteY3"/>
                  </a:cxn>
                </a:cxnLst>
                <a:rect l="l" t="t" r="r" b="b"/>
                <a:pathLst>
                  <a:path w="1730064" h="1730064">
                    <a:moveTo>
                      <a:pt x="0" y="1730064"/>
                    </a:moveTo>
                    <a:cubicBezTo>
                      <a:pt x="0" y="774576"/>
                      <a:pt x="774576" y="0"/>
                      <a:pt x="1730064" y="0"/>
                    </a:cubicBezTo>
                    <a:lnTo>
                      <a:pt x="1730064" y="1730064"/>
                    </a:lnTo>
                    <a:lnTo>
                      <a:pt x="0" y="1730064"/>
                    </a:lnTo>
                    <a:close/>
                  </a:path>
                </a:pathLst>
              </a:custGeom>
              <a:solidFill>
                <a:srgbClr val="D6EAF8">
                  <a:lumMod val="50000"/>
                </a:srgbClr>
              </a:solidFill>
              <a:ln>
                <a:noFill/>
              </a:ln>
              <a:effectLst>
                <a:outerShdw blurRad="40000" dist="23000" dir="5400000" rotWithShape="0">
                  <a:srgbClr val="000000">
                    <a:alpha val="35000"/>
                  </a:srgbClr>
                </a:outerShdw>
              </a:effectLst>
            </p:spPr>
            <p:txBody>
              <a:bodyPr spcFirstLastPara="0" vert="horz" wrap="square" lIns="627628" tIns="627628" rIns="120904" bIns="120904"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de-DE" b="0" i="0" u="none" strike="noStrike" kern="0" cap="none" spc="0" normalizeH="0" baseline="0" noProof="0" dirty="0">
                    <a:ln>
                      <a:noFill/>
                    </a:ln>
                    <a:solidFill>
                      <a:srgbClr val="FFFFFF"/>
                    </a:solidFill>
                    <a:effectLst/>
                    <a:uLnTx/>
                    <a:uFillTx/>
                    <a:latin typeface="+mj-lt"/>
                    <a:ea typeface="+mn-ea"/>
                    <a:cs typeface="+mn-cs"/>
                  </a:rPr>
                  <a:t>Risiko</a:t>
                </a:r>
              </a:p>
            </p:txBody>
          </p:sp>
          <p:sp>
            <p:nvSpPr>
              <p:cNvPr id="43" name="Freihandform 16">
                <a:extLst>
                  <a:ext uri="{FF2B5EF4-FFF2-40B4-BE49-F238E27FC236}">
                    <a16:creationId xmlns:a16="http://schemas.microsoft.com/office/drawing/2014/main" id="{436ECD53-FDFB-164C-8CA9-1C322EB92C95}"/>
                  </a:ext>
                </a:extLst>
              </p:cNvPr>
              <p:cNvSpPr/>
              <p:nvPr/>
            </p:nvSpPr>
            <p:spPr>
              <a:xfrm>
                <a:off x="4082220" y="1053644"/>
                <a:ext cx="1730064" cy="1730064"/>
              </a:xfrm>
              <a:custGeom>
                <a:avLst/>
                <a:gdLst>
                  <a:gd name="connsiteX0" fmla="*/ 0 w 1730064"/>
                  <a:gd name="connsiteY0" fmla="*/ 1730064 h 1730064"/>
                  <a:gd name="connsiteX1" fmla="*/ 1730064 w 1730064"/>
                  <a:gd name="connsiteY1" fmla="*/ 0 h 1730064"/>
                  <a:gd name="connsiteX2" fmla="*/ 1730064 w 1730064"/>
                  <a:gd name="connsiteY2" fmla="*/ 1730064 h 1730064"/>
                  <a:gd name="connsiteX3" fmla="*/ 0 w 1730064"/>
                  <a:gd name="connsiteY3" fmla="*/ 1730064 h 1730064"/>
                </a:gdLst>
                <a:ahLst/>
                <a:cxnLst>
                  <a:cxn ang="0">
                    <a:pos x="connsiteX0" y="connsiteY0"/>
                  </a:cxn>
                  <a:cxn ang="0">
                    <a:pos x="connsiteX1" y="connsiteY1"/>
                  </a:cxn>
                  <a:cxn ang="0">
                    <a:pos x="connsiteX2" y="connsiteY2"/>
                  </a:cxn>
                  <a:cxn ang="0">
                    <a:pos x="connsiteX3" y="connsiteY3"/>
                  </a:cxn>
                </a:cxnLst>
                <a:rect l="l" t="t" r="r" b="b"/>
                <a:pathLst>
                  <a:path w="1730064" h="1730064">
                    <a:moveTo>
                      <a:pt x="0" y="0"/>
                    </a:moveTo>
                    <a:cubicBezTo>
                      <a:pt x="955488" y="0"/>
                      <a:pt x="1730064" y="774576"/>
                      <a:pt x="1730064" y="1730064"/>
                    </a:cubicBezTo>
                    <a:lnTo>
                      <a:pt x="0" y="1730064"/>
                    </a:lnTo>
                    <a:lnTo>
                      <a:pt x="0" y="0"/>
                    </a:lnTo>
                    <a:close/>
                  </a:path>
                </a:pathLst>
              </a:custGeom>
              <a:solidFill>
                <a:srgbClr val="D6EAF8">
                  <a:lumMod val="50000"/>
                </a:srgbClr>
              </a:solidFill>
              <a:ln>
                <a:noFill/>
              </a:ln>
              <a:effectLst>
                <a:outerShdw blurRad="40000" dist="23000" dir="5400000" rotWithShape="0">
                  <a:srgbClr val="000000">
                    <a:alpha val="35000"/>
                  </a:srgbClr>
                </a:outerShdw>
              </a:effectLst>
            </p:spPr>
            <p:txBody>
              <a:bodyPr spcFirstLastPara="0" vert="horz" wrap="square" lIns="120904" tIns="627628" rIns="627628" bIns="120904"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de-DE" b="0" i="0" u="none" strike="noStrike" kern="0" cap="none" spc="0" normalizeH="0" baseline="0" noProof="0" dirty="0">
                    <a:ln>
                      <a:noFill/>
                    </a:ln>
                    <a:solidFill>
                      <a:srgbClr val="FFFFFF"/>
                    </a:solidFill>
                    <a:effectLst/>
                    <a:uLnTx/>
                    <a:uFillTx/>
                    <a:latin typeface="+mj-lt"/>
                    <a:ea typeface="+mn-ea"/>
                    <a:cs typeface="+mn-cs"/>
                  </a:rPr>
                  <a:t>Zonierung</a:t>
                </a:r>
              </a:p>
            </p:txBody>
          </p:sp>
          <p:sp>
            <p:nvSpPr>
              <p:cNvPr id="44" name="Freihandform 17">
                <a:extLst>
                  <a:ext uri="{FF2B5EF4-FFF2-40B4-BE49-F238E27FC236}">
                    <a16:creationId xmlns:a16="http://schemas.microsoft.com/office/drawing/2014/main" id="{FB70EECC-0AB5-94EF-1BE5-E0CA657C1B42}"/>
                  </a:ext>
                </a:extLst>
              </p:cNvPr>
              <p:cNvSpPr/>
              <p:nvPr/>
            </p:nvSpPr>
            <p:spPr>
              <a:xfrm>
                <a:off x="4082220" y="2863618"/>
                <a:ext cx="1730064" cy="1730065"/>
              </a:xfrm>
              <a:custGeom>
                <a:avLst/>
                <a:gdLst>
                  <a:gd name="connsiteX0" fmla="*/ 0 w 1730064"/>
                  <a:gd name="connsiteY0" fmla="*/ 1730064 h 1730064"/>
                  <a:gd name="connsiteX1" fmla="*/ 1730064 w 1730064"/>
                  <a:gd name="connsiteY1" fmla="*/ 0 h 1730064"/>
                  <a:gd name="connsiteX2" fmla="*/ 1730064 w 1730064"/>
                  <a:gd name="connsiteY2" fmla="*/ 1730064 h 1730064"/>
                  <a:gd name="connsiteX3" fmla="*/ 0 w 1730064"/>
                  <a:gd name="connsiteY3" fmla="*/ 1730064 h 1730064"/>
                </a:gdLst>
                <a:ahLst/>
                <a:cxnLst>
                  <a:cxn ang="0">
                    <a:pos x="connsiteX0" y="connsiteY0"/>
                  </a:cxn>
                  <a:cxn ang="0">
                    <a:pos x="connsiteX1" y="connsiteY1"/>
                  </a:cxn>
                  <a:cxn ang="0">
                    <a:pos x="connsiteX2" y="connsiteY2"/>
                  </a:cxn>
                  <a:cxn ang="0">
                    <a:pos x="connsiteX3" y="connsiteY3"/>
                  </a:cxn>
                </a:cxnLst>
                <a:rect l="l" t="t" r="r" b="b"/>
                <a:pathLst>
                  <a:path w="1730064" h="1730064">
                    <a:moveTo>
                      <a:pt x="1730064" y="0"/>
                    </a:moveTo>
                    <a:cubicBezTo>
                      <a:pt x="1730064" y="955488"/>
                      <a:pt x="955488" y="1730064"/>
                      <a:pt x="0" y="1730064"/>
                    </a:cubicBezTo>
                    <a:lnTo>
                      <a:pt x="0" y="0"/>
                    </a:lnTo>
                    <a:lnTo>
                      <a:pt x="1730064" y="0"/>
                    </a:lnTo>
                    <a:close/>
                  </a:path>
                </a:pathLst>
              </a:custGeom>
              <a:solidFill>
                <a:srgbClr val="D6EAF8">
                  <a:lumMod val="50000"/>
                </a:srgbClr>
              </a:solidFill>
              <a:ln>
                <a:noFill/>
              </a:ln>
              <a:effectLst>
                <a:outerShdw blurRad="40000" dist="23000" dir="5400000" rotWithShape="0">
                  <a:srgbClr val="000000">
                    <a:alpha val="35000"/>
                  </a:srgbClr>
                </a:outerShdw>
              </a:effectLst>
            </p:spPr>
            <p:txBody>
              <a:bodyPr spcFirstLastPara="0" vert="horz" wrap="square" lIns="120904" tIns="120904" rIns="627628" bIns="627628"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de-DE" b="0" i="0" u="none" strike="noStrike" kern="0" cap="none" spc="0" normalizeH="0" baseline="0" noProof="0" dirty="0">
                    <a:ln>
                      <a:noFill/>
                    </a:ln>
                    <a:solidFill>
                      <a:srgbClr val="FFFFFF"/>
                    </a:solidFill>
                    <a:effectLst/>
                    <a:uLnTx/>
                    <a:uFillTx/>
                    <a:latin typeface="+mj-lt"/>
                    <a:ea typeface="+mn-ea"/>
                    <a:cs typeface="+mn-cs"/>
                  </a:rPr>
                  <a:t>Security Level</a:t>
                </a:r>
              </a:p>
            </p:txBody>
          </p:sp>
          <p:sp>
            <p:nvSpPr>
              <p:cNvPr id="45" name="Freihandform 18">
                <a:extLst>
                  <a:ext uri="{FF2B5EF4-FFF2-40B4-BE49-F238E27FC236}">
                    <a16:creationId xmlns:a16="http://schemas.microsoft.com/office/drawing/2014/main" id="{A074720A-C83C-C017-272D-80F489F06F78}"/>
                  </a:ext>
                </a:extLst>
              </p:cNvPr>
              <p:cNvSpPr/>
              <p:nvPr/>
            </p:nvSpPr>
            <p:spPr>
              <a:xfrm>
                <a:off x="2272245" y="2863619"/>
                <a:ext cx="1730065" cy="1730064"/>
              </a:xfrm>
              <a:custGeom>
                <a:avLst/>
                <a:gdLst>
                  <a:gd name="connsiteX0" fmla="*/ 0 w 1730064"/>
                  <a:gd name="connsiteY0" fmla="*/ 1730064 h 1730064"/>
                  <a:gd name="connsiteX1" fmla="*/ 1730064 w 1730064"/>
                  <a:gd name="connsiteY1" fmla="*/ 0 h 1730064"/>
                  <a:gd name="connsiteX2" fmla="*/ 1730064 w 1730064"/>
                  <a:gd name="connsiteY2" fmla="*/ 1730064 h 1730064"/>
                  <a:gd name="connsiteX3" fmla="*/ 0 w 1730064"/>
                  <a:gd name="connsiteY3" fmla="*/ 1730064 h 1730064"/>
                </a:gdLst>
                <a:ahLst/>
                <a:cxnLst>
                  <a:cxn ang="0">
                    <a:pos x="connsiteX0" y="connsiteY0"/>
                  </a:cxn>
                  <a:cxn ang="0">
                    <a:pos x="connsiteX1" y="connsiteY1"/>
                  </a:cxn>
                  <a:cxn ang="0">
                    <a:pos x="connsiteX2" y="connsiteY2"/>
                  </a:cxn>
                  <a:cxn ang="0">
                    <a:pos x="connsiteX3" y="connsiteY3"/>
                  </a:cxn>
                </a:cxnLst>
                <a:rect l="l" t="t" r="r" b="b"/>
                <a:pathLst>
                  <a:path w="1730064" h="1730064">
                    <a:moveTo>
                      <a:pt x="1730064" y="1730064"/>
                    </a:moveTo>
                    <a:cubicBezTo>
                      <a:pt x="774576" y="1730064"/>
                      <a:pt x="0" y="955488"/>
                      <a:pt x="0" y="0"/>
                    </a:cubicBezTo>
                    <a:lnTo>
                      <a:pt x="1730064" y="0"/>
                    </a:lnTo>
                    <a:lnTo>
                      <a:pt x="1730064" y="1730064"/>
                    </a:lnTo>
                    <a:close/>
                  </a:path>
                </a:pathLst>
              </a:custGeom>
              <a:solidFill>
                <a:srgbClr val="D6EAF8">
                  <a:lumMod val="50000"/>
                </a:srgbClr>
              </a:solidFill>
              <a:ln>
                <a:noFill/>
              </a:ln>
              <a:effectLst>
                <a:outerShdw blurRad="40000" dist="23000" dir="5400000" rotWithShape="0">
                  <a:srgbClr val="000000">
                    <a:alpha val="35000"/>
                  </a:srgbClr>
                </a:outerShdw>
              </a:effectLst>
            </p:spPr>
            <p:txBody>
              <a:bodyPr spcFirstLastPara="0" vert="horz" wrap="square" lIns="627628" tIns="120904" rIns="120904" bIns="627628" numCol="1" spcCol="1270" anchor="ctr" anchorCtr="0">
                <a:noAutofit/>
              </a:bodyPr>
              <a:lstStyle/>
              <a:p>
                <a:pPr marR="0" lvl="0" algn="ctr" defTabSz="755650" eaLnBrk="1" fontAlgn="auto" latinLnBrk="0" hangingPunct="1">
                  <a:lnSpc>
                    <a:spcPct val="90000"/>
                  </a:lnSpc>
                  <a:spcBef>
                    <a:spcPct val="0"/>
                  </a:spcBef>
                  <a:spcAft>
                    <a:spcPct val="35000"/>
                  </a:spcAft>
                  <a:buClrTx/>
                  <a:buSzTx/>
                  <a:buFontTx/>
                  <a:buNone/>
                  <a:tabLst/>
                  <a:defRPr/>
                </a:pPr>
                <a:endParaRPr kumimoji="0" lang="de-DE" sz="1700" b="0" i="0" u="none" strike="noStrike" kern="0" cap="none" spc="0" normalizeH="0" baseline="0" noProof="0" dirty="0">
                  <a:ln>
                    <a:noFill/>
                  </a:ln>
                  <a:solidFill>
                    <a:srgbClr val="FFFFFF"/>
                  </a:solidFill>
                  <a:effectLst/>
                  <a:uLnTx/>
                  <a:uFillTx/>
                  <a:latin typeface="+mj-lt"/>
                  <a:ea typeface="+mn-ea"/>
                  <a:cs typeface="+mn-cs"/>
                </a:endParaRPr>
              </a:p>
            </p:txBody>
          </p:sp>
          <p:sp>
            <p:nvSpPr>
              <p:cNvPr id="46" name="Gebogener Pfeil 19">
                <a:extLst>
                  <a:ext uri="{FF2B5EF4-FFF2-40B4-BE49-F238E27FC236}">
                    <a16:creationId xmlns:a16="http://schemas.microsoft.com/office/drawing/2014/main" id="{E38E038C-419B-C9C0-C991-A63CD3AB8D71}"/>
                  </a:ext>
                </a:extLst>
              </p:cNvPr>
              <p:cNvSpPr/>
              <p:nvPr/>
            </p:nvSpPr>
            <p:spPr>
              <a:xfrm>
                <a:off x="3895999" y="2457970"/>
                <a:ext cx="597331" cy="519419"/>
              </a:xfrm>
              <a:prstGeom prst="circularArrow">
                <a:avLst/>
              </a:prstGeom>
              <a:solidFill>
                <a:srgbClr val="BBE0E3">
                  <a:tint val="60000"/>
                  <a:hueOff val="0"/>
                  <a:satOff val="0"/>
                  <a:lumOff val="0"/>
                  <a:alpha val="0"/>
                </a:srgbClr>
              </a:solidFill>
              <a:ln>
                <a:noFill/>
              </a:ln>
              <a:effectLst>
                <a:outerShdw blurRad="40000" dist="23000" dir="5400000" rotWithShape="0">
                  <a:srgbClr val="000000">
                    <a:alpha val="35000"/>
                  </a:srgbClr>
                </a:outerShdw>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58">
                      <a:hueOff val="0"/>
                      <a:satOff val="0"/>
                      <a:lumOff val="0"/>
                      <a:alphaOff val="0"/>
                    </a:srgbClr>
                  </a:solidFill>
                  <a:effectLst/>
                  <a:uLnTx/>
                  <a:uFillTx/>
                  <a:latin typeface="+mj-lt"/>
                  <a:ea typeface="+mn-ea"/>
                  <a:cs typeface="+mn-cs"/>
                </a:endParaRPr>
              </a:p>
            </p:txBody>
          </p:sp>
          <p:sp>
            <p:nvSpPr>
              <p:cNvPr id="47" name="Gebogener Pfeil 20">
                <a:extLst>
                  <a:ext uri="{FF2B5EF4-FFF2-40B4-BE49-F238E27FC236}">
                    <a16:creationId xmlns:a16="http://schemas.microsoft.com/office/drawing/2014/main" id="{3864A73B-C060-FDAA-0CA8-C2676214C3B1}"/>
                  </a:ext>
                </a:extLst>
              </p:cNvPr>
              <p:cNvSpPr/>
              <p:nvPr/>
            </p:nvSpPr>
            <p:spPr>
              <a:xfrm rot="10800000">
                <a:off x="3895999" y="2657747"/>
                <a:ext cx="597331" cy="519419"/>
              </a:xfrm>
              <a:prstGeom prst="circularArrow">
                <a:avLst/>
              </a:prstGeom>
              <a:solidFill>
                <a:srgbClr val="BBE0E3">
                  <a:tint val="60000"/>
                  <a:hueOff val="0"/>
                  <a:satOff val="0"/>
                  <a:lumOff val="0"/>
                  <a:alpha val="0"/>
                </a:srgbClr>
              </a:solidFill>
              <a:ln>
                <a:noFill/>
              </a:ln>
              <a:effectLst>
                <a:outerShdw blurRad="40000" dist="23000" dir="5400000" rotWithShape="0">
                  <a:srgbClr val="000000">
                    <a:alpha val="35000"/>
                  </a:srgbClr>
                </a:outerShdw>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58">
                      <a:hueOff val="0"/>
                      <a:satOff val="0"/>
                      <a:lumOff val="0"/>
                      <a:alphaOff val="0"/>
                    </a:srgbClr>
                  </a:solidFill>
                  <a:effectLst/>
                  <a:uLnTx/>
                  <a:uFillTx/>
                  <a:latin typeface="+mj-lt"/>
                  <a:ea typeface="+mn-ea"/>
                  <a:cs typeface="+mn-cs"/>
                </a:endParaRPr>
              </a:p>
            </p:txBody>
          </p:sp>
          <p:sp>
            <p:nvSpPr>
              <p:cNvPr id="48" name="Rechteck 47">
                <a:extLst>
                  <a:ext uri="{FF2B5EF4-FFF2-40B4-BE49-F238E27FC236}">
                    <a16:creationId xmlns:a16="http://schemas.microsoft.com/office/drawing/2014/main" id="{6448FD49-4740-A16C-F098-64EF1D00F3E5}"/>
                  </a:ext>
                </a:extLst>
              </p:cNvPr>
              <p:cNvSpPr/>
              <p:nvPr/>
            </p:nvSpPr>
            <p:spPr>
              <a:xfrm rot="5400000">
                <a:off x="7405386" y="2333070"/>
                <a:ext cx="1587775" cy="889084"/>
              </a:xfrm>
              <a:prstGeom prst="rect">
                <a:avLst/>
              </a:prstGeom>
              <a:noFill/>
              <a:ln w="25400" cap="flat" cmpd="sng" algn="ctr">
                <a:noFill/>
                <a:prstDash val="solid"/>
              </a:ln>
              <a:effectLst/>
            </p:spPr>
            <p:txBody>
              <a:bodyPr lIns="68580" tIns="34290" rIns="68580" bIns="3429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mj-lt"/>
                  </a:rPr>
                  <a:t>Integrator</a:t>
                </a:r>
              </a:p>
            </p:txBody>
          </p:sp>
          <p:sp>
            <p:nvSpPr>
              <p:cNvPr id="49" name="Rechteck 48">
                <a:extLst>
                  <a:ext uri="{FF2B5EF4-FFF2-40B4-BE49-F238E27FC236}">
                    <a16:creationId xmlns:a16="http://schemas.microsoft.com/office/drawing/2014/main" id="{42D393CD-A97A-AED7-3D39-DE0617860F60}"/>
                  </a:ext>
                </a:extLst>
              </p:cNvPr>
              <p:cNvSpPr/>
              <p:nvPr/>
            </p:nvSpPr>
            <p:spPr>
              <a:xfrm rot="5400000">
                <a:off x="7396822" y="3619496"/>
                <a:ext cx="1587775" cy="889084"/>
              </a:xfrm>
              <a:prstGeom prst="rect">
                <a:avLst/>
              </a:prstGeom>
              <a:noFill/>
              <a:ln w="25400" cap="flat" cmpd="sng" algn="ctr">
                <a:noFill/>
                <a:prstDash val="solid"/>
              </a:ln>
              <a:effectLst/>
            </p:spPr>
            <p:txBody>
              <a:bodyPr lIns="68580" tIns="34290" rIns="68580" bIns="3429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mj-lt"/>
                  </a:rPr>
                  <a:t>Betreiber</a:t>
                </a:r>
              </a:p>
            </p:txBody>
          </p:sp>
        </p:grpSp>
        <p:sp>
          <p:nvSpPr>
            <p:cNvPr id="36" name="Rechteck 35">
              <a:extLst>
                <a:ext uri="{FF2B5EF4-FFF2-40B4-BE49-F238E27FC236}">
                  <a16:creationId xmlns:a16="http://schemas.microsoft.com/office/drawing/2014/main" id="{95A1B85A-99CA-3C20-8E1E-B880C8F91D67}"/>
                </a:ext>
              </a:extLst>
            </p:cNvPr>
            <p:cNvSpPr/>
            <p:nvPr/>
          </p:nvSpPr>
          <p:spPr>
            <a:xfrm rot="5400000">
              <a:off x="7109872" y="909434"/>
              <a:ext cx="2117033" cy="914400"/>
            </a:xfrm>
            <a:prstGeom prst="rect">
              <a:avLst/>
            </a:prstGeom>
            <a:no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a:ln>
                    <a:noFill/>
                  </a:ln>
                  <a:solidFill>
                    <a:prstClr val="white"/>
                  </a:solidFill>
                  <a:effectLst/>
                  <a:uLnTx/>
                  <a:uFillTx/>
                  <a:latin typeface="+mj-lt"/>
                  <a:ea typeface="+mn-ea"/>
                  <a:cs typeface="+mn-cs"/>
                </a:rPr>
                <a:t>Hersteller</a:t>
              </a:r>
            </a:p>
          </p:txBody>
        </p:sp>
      </p:grpSp>
      <p:sp>
        <p:nvSpPr>
          <p:cNvPr id="51" name="Textfeld 50">
            <a:extLst>
              <a:ext uri="{FF2B5EF4-FFF2-40B4-BE49-F238E27FC236}">
                <a16:creationId xmlns:a16="http://schemas.microsoft.com/office/drawing/2014/main" id="{4F6BF44B-5E03-48FA-0AFF-94B2DEFC49BB}"/>
              </a:ext>
            </a:extLst>
          </p:cNvPr>
          <p:cNvSpPr txBox="1"/>
          <p:nvPr/>
        </p:nvSpPr>
        <p:spPr>
          <a:xfrm>
            <a:off x="1281169" y="4459270"/>
            <a:ext cx="6096000" cy="341632"/>
          </a:xfrm>
          <a:prstGeom prst="rect">
            <a:avLst/>
          </a:prstGeom>
          <a:noFill/>
        </p:spPr>
        <p:txBody>
          <a:bodyPr wrap="square">
            <a:spAutoFit/>
          </a:bodyPr>
          <a:lstStyle/>
          <a:p>
            <a:pPr marR="0" lvl="0" algn="ctr" defTabSz="755650" eaLnBrk="1" fontAlgn="auto" latinLnBrk="0" hangingPunct="1">
              <a:lnSpc>
                <a:spcPct val="90000"/>
              </a:lnSpc>
              <a:spcBef>
                <a:spcPct val="0"/>
              </a:spcBef>
              <a:spcAft>
                <a:spcPct val="35000"/>
              </a:spcAft>
              <a:buClrTx/>
              <a:buSzTx/>
              <a:buFontTx/>
              <a:buNone/>
              <a:tabLst/>
              <a:defRPr/>
            </a:pPr>
            <a:r>
              <a:rPr kumimoji="0" lang="de-DE" sz="1800" b="0" i="0" u="none" strike="noStrike" kern="0" cap="none" spc="0" normalizeH="0" baseline="0" noProof="0" dirty="0">
                <a:ln>
                  <a:noFill/>
                </a:ln>
                <a:solidFill>
                  <a:srgbClr val="FFFFFF"/>
                </a:solidFill>
                <a:effectLst/>
                <a:uLnTx/>
                <a:uFillTx/>
                <a:latin typeface="+mj-lt"/>
                <a:ea typeface="+mn-ea"/>
                <a:cs typeface="+mn-cs"/>
              </a:rPr>
              <a:t>Anforderungen</a:t>
            </a:r>
          </a:p>
        </p:txBody>
      </p:sp>
    </p:spTree>
    <p:extLst>
      <p:ext uri="{BB962C8B-B14F-4D97-AF65-F5344CB8AC3E}">
        <p14:creationId xmlns:p14="http://schemas.microsoft.com/office/powerpoint/2010/main" val="1994411489"/>
      </p:ext>
    </p:extLst>
  </p:cSld>
  <p:clrMapOvr>
    <a:masterClrMapping/>
  </p:clrMapOvr>
  <p:transition spd="slow">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807DBBC-7F6E-0451-DAD9-260431051D02}"/>
              </a:ext>
            </a:extLst>
          </p:cNvPr>
          <p:cNvSpPr>
            <a:spLocks noGrp="1"/>
          </p:cNvSpPr>
          <p:nvPr>
            <p:ph idx="1"/>
          </p:nvPr>
        </p:nvSpPr>
        <p:spPr/>
        <p:txBody>
          <a:bodyPr/>
          <a:lstStyle/>
          <a:p>
            <a:pPr marL="342900" indent="-342900">
              <a:buFont typeface="+mj-lt"/>
              <a:buAutoNum type="arabicPeriod"/>
            </a:pPr>
            <a:r>
              <a:rPr lang="de-CH" dirty="0"/>
              <a:t>Erstellen Sie mithilfe des Dokumentes Risikoanalyse eine Risikoanalyse Ihres Roboterprojektes</a:t>
            </a:r>
          </a:p>
          <a:p>
            <a:pPr marL="342900" indent="-342900">
              <a:buFont typeface="+mj-lt"/>
              <a:buAutoNum type="arabicPeriod"/>
            </a:pPr>
            <a:r>
              <a:rPr lang="de-CH" dirty="0"/>
              <a:t>Definieren basierend auf der Risikoanalyse geeignete Prozessschritte für eine Kraft/-Druckmessung</a:t>
            </a:r>
          </a:p>
          <a:p>
            <a:pPr marL="342900" indent="-342900">
              <a:buFont typeface="+mj-lt"/>
              <a:buAutoNum type="arabicPeriod"/>
            </a:pPr>
            <a:endParaRPr lang="de-CH" dirty="0"/>
          </a:p>
        </p:txBody>
      </p:sp>
      <p:sp>
        <p:nvSpPr>
          <p:cNvPr id="3" name="Titel 2">
            <a:extLst>
              <a:ext uri="{FF2B5EF4-FFF2-40B4-BE49-F238E27FC236}">
                <a16:creationId xmlns:a16="http://schemas.microsoft.com/office/drawing/2014/main" id="{FE730BA0-FDFB-05FF-6742-D3D3539B149F}"/>
              </a:ext>
            </a:extLst>
          </p:cNvPr>
          <p:cNvSpPr>
            <a:spLocks noGrp="1"/>
          </p:cNvSpPr>
          <p:nvPr>
            <p:ph type="title"/>
          </p:nvPr>
        </p:nvSpPr>
        <p:spPr/>
        <p:txBody>
          <a:bodyPr>
            <a:normAutofit fontScale="90000"/>
          </a:bodyPr>
          <a:lstStyle/>
          <a:p>
            <a:r>
              <a:rPr lang="de-CH" dirty="0"/>
              <a:t>Übung Erstellung einer Risikoanalyse</a:t>
            </a:r>
          </a:p>
        </p:txBody>
      </p:sp>
      <p:sp>
        <p:nvSpPr>
          <p:cNvPr id="4" name="Fußzeilenplatzhalter 3">
            <a:extLst>
              <a:ext uri="{FF2B5EF4-FFF2-40B4-BE49-F238E27FC236}">
                <a16:creationId xmlns:a16="http://schemas.microsoft.com/office/drawing/2014/main" id="{8AF6D240-3AAA-1853-0C13-F3E222B8DD1A}"/>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4268DA1-AE07-C508-EED5-01517061AC6C}"/>
              </a:ext>
            </a:extLst>
          </p:cNvPr>
          <p:cNvSpPr>
            <a:spLocks noGrp="1"/>
          </p:cNvSpPr>
          <p:nvPr>
            <p:ph type="sldNum" sz="quarter" idx="16"/>
          </p:nvPr>
        </p:nvSpPr>
        <p:spPr/>
        <p:txBody>
          <a:bodyPr/>
          <a:lstStyle/>
          <a:p>
            <a:fld id="{61F2C2C2-1EE4-4D60-B09F-2141F977BFAA}" type="slidenum">
              <a:rPr lang="de-DE" altLang="de-DE" smtClean="0"/>
              <a:pPr/>
              <a:t>57</a:t>
            </a:fld>
            <a:endParaRPr lang="de-DE" altLang="de-DE"/>
          </a:p>
        </p:txBody>
      </p:sp>
    </p:spTree>
    <p:extLst>
      <p:ext uri="{BB962C8B-B14F-4D97-AF65-F5344CB8AC3E}">
        <p14:creationId xmlns:p14="http://schemas.microsoft.com/office/powerpoint/2010/main" val="1161398435"/>
      </p:ext>
    </p:extLst>
  </p:cSld>
  <p:clrMapOvr>
    <a:masterClrMapping/>
  </p:clrMapOvr>
  <p:transition spd="slow">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807DBBC-7F6E-0451-DAD9-260431051D02}"/>
              </a:ext>
            </a:extLst>
          </p:cNvPr>
          <p:cNvSpPr>
            <a:spLocks noGrp="1"/>
          </p:cNvSpPr>
          <p:nvPr>
            <p:ph idx="1"/>
          </p:nvPr>
        </p:nvSpPr>
        <p:spPr/>
        <p:txBody>
          <a:bodyPr/>
          <a:lstStyle/>
          <a:p>
            <a:pPr marL="342900" indent="-342900">
              <a:buFont typeface="+mj-lt"/>
              <a:buAutoNum type="arabicPeriod"/>
            </a:pPr>
            <a:r>
              <a:rPr lang="de-CH" dirty="0"/>
              <a:t>Führen Sie für die definierten Risiko Stellen eine Kraft Druckmessung durch</a:t>
            </a:r>
          </a:p>
          <a:p>
            <a:pPr marL="342900" indent="-342900">
              <a:buFont typeface="+mj-lt"/>
              <a:buAutoNum type="arabicPeriod"/>
            </a:pPr>
            <a:r>
              <a:rPr lang="de-CH" dirty="0"/>
              <a:t>Interpretieren Sie die Ergebnisse und definieren Sie falls nötig Optimierungsmassnahmen</a:t>
            </a:r>
          </a:p>
          <a:p>
            <a:pPr marL="342900" indent="-342900">
              <a:buFont typeface="+mj-lt"/>
              <a:buAutoNum type="arabicPeriod"/>
            </a:pPr>
            <a:endParaRPr lang="de-CH" dirty="0"/>
          </a:p>
        </p:txBody>
      </p:sp>
      <p:sp>
        <p:nvSpPr>
          <p:cNvPr id="3" name="Titel 2">
            <a:extLst>
              <a:ext uri="{FF2B5EF4-FFF2-40B4-BE49-F238E27FC236}">
                <a16:creationId xmlns:a16="http://schemas.microsoft.com/office/drawing/2014/main" id="{FE730BA0-FDFB-05FF-6742-D3D3539B149F}"/>
              </a:ext>
            </a:extLst>
          </p:cNvPr>
          <p:cNvSpPr>
            <a:spLocks noGrp="1"/>
          </p:cNvSpPr>
          <p:nvPr>
            <p:ph type="title"/>
          </p:nvPr>
        </p:nvSpPr>
        <p:spPr/>
        <p:txBody>
          <a:bodyPr>
            <a:normAutofit fontScale="90000"/>
          </a:bodyPr>
          <a:lstStyle/>
          <a:p>
            <a:r>
              <a:rPr lang="de-CH" dirty="0"/>
              <a:t>Kraft Druckmessung</a:t>
            </a:r>
          </a:p>
        </p:txBody>
      </p:sp>
      <p:sp>
        <p:nvSpPr>
          <p:cNvPr id="4" name="Fußzeilenplatzhalter 3">
            <a:extLst>
              <a:ext uri="{FF2B5EF4-FFF2-40B4-BE49-F238E27FC236}">
                <a16:creationId xmlns:a16="http://schemas.microsoft.com/office/drawing/2014/main" id="{8AF6D240-3AAA-1853-0C13-F3E222B8DD1A}"/>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B4268DA1-AE07-C508-EED5-01517061AC6C}"/>
              </a:ext>
            </a:extLst>
          </p:cNvPr>
          <p:cNvSpPr>
            <a:spLocks noGrp="1"/>
          </p:cNvSpPr>
          <p:nvPr>
            <p:ph type="sldNum" sz="quarter" idx="16"/>
          </p:nvPr>
        </p:nvSpPr>
        <p:spPr/>
        <p:txBody>
          <a:bodyPr/>
          <a:lstStyle/>
          <a:p>
            <a:fld id="{61F2C2C2-1EE4-4D60-B09F-2141F977BFAA}" type="slidenum">
              <a:rPr lang="de-DE" altLang="de-DE" smtClean="0"/>
              <a:pPr/>
              <a:t>58</a:t>
            </a:fld>
            <a:endParaRPr lang="de-DE" altLang="de-DE"/>
          </a:p>
        </p:txBody>
      </p:sp>
    </p:spTree>
    <p:extLst>
      <p:ext uri="{BB962C8B-B14F-4D97-AF65-F5344CB8AC3E}">
        <p14:creationId xmlns:p14="http://schemas.microsoft.com/office/powerpoint/2010/main" val="3997724797"/>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9" y="421437"/>
            <a:ext cx="9023349" cy="483296"/>
          </a:xfrm>
        </p:spPr>
        <p:txBody>
          <a:bodyPr>
            <a:normAutofit fontScale="90000"/>
          </a:bodyPr>
          <a:lstStyle/>
          <a:p>
            <a:r>
              <a:rPr lang="de-DE" dirty="0"/>
              <a:t>Überblick der verschiedenen ISO Standards </a:t>
            </a:r>
          </a:p>
        </p:txBody>
      </p:sp>
      <p:sp>
        <p:nvSpPr>
          <p:cNvPr id="25" name="Quelle"/>
          <p:cNvSpPr txBox="1">
            <a:spLocks noChangeArrowheads="1"/>
          </p:cNvSpPr>
          <p:nvPr/>
        </p:nvSpPr>
        <p:spPr bwMode="auto">
          <a:xfrm>
            <a:off x="9618031" y="6461313"/>
            <a:ext cx="9467851"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anchor="b">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de-DE" sz="1000" dirty="0">
                <a:latin typeface="+mn-lt"/>
              </a:rPr>
              <a:t>Quelle</a:t>
            </a:r>
            <a:r>
              <a:rPr lang="de-DE" sz="1000" dirty="0"/>
              <a:t>: </a:t>
            </a:r>
            <a:r>
              <a:rPr lang="de-DE" sz="1000" dirty="0" err="1">
                <a:latin typeface="+mj-lt"/>
              </a:rPr>
              <a:t>Robotiq</a:t>
            </a:r>
            <a:endParaRPr lang="de-DE" sz="1000" dirty="0">
              <a:latin typeface="+mj-lt"/>
            </a:endParaRPr>
          </a:p>
        </p:txBody>
      </p:sp>
      <p:sp>
        <p:nvSpPr>
          <p:cNvPr id="3" name="Fußzeilenplatzhalter 2"/>
          <p:cNvSpPr>
            <a:spLocks noGrp="1"/>
          </p:cNvSpPr>
          <p:nvPr>
            <p:ph type="ftr" sz="quarter" idx="15"/>
          </p:nvPr>
        </p:nvSpPr>
        <p:spPr/>
        <p:txBody>
          <a:bodyPr/>
          <a:lstStyle/>
          <a:p>
            <a:pPr defTabSz="582069"/>
            <a:r>
              <a:rPr lang="de-DE"/>
              <a:t>Automation II</a:t>
            </a:r>
            <a:endParaRPr lang="de-DE" dirty="0"/>
          </a:p>
        </p:txBody>
      </p:sp>
      <p:sp>
        <p:nvSpPr>
          <p:cNvPr id="24" name="Foliennummernplatzhalter 23"/>
          <p:cNvSpPr>
            <a:spLocks noGrp="1"/>
          </p:cNvSpPr>
          <p:nvPr>
            <p:ph type="sldNum" sz="quarter" idx="16"/>
          </p:nvPr>
        </p:nvSpPr>
        <p:spPr/>
        <p:txBody>
          <a:bodyPr/>
          <a:lstStyle/>
          <a:p>
            <a:fld id="{1E6235D0-FF99-C045-995D-75C61122D1C1}" type="slidenum">
              <a:rPr lang="de-DE" smtClean="0"/>
              <a:pPr/>
              <a:t>6</a:t>
            </a:fld>
            <a:endParaRPr lang="de-DE" dirty="0"/>
          </a:p>
        </p:txBody>
      </p:sp>
      <p:grpSp>
        <p:nvGrpSpPr>
          <p:cNvPr id="27" name="Gruppieren 26"/>
          <p:cNvGrpSpPr>
            <a:grpSpLocks/>
          </p:cNvGrpSpPr>
          <p:nvPr/>
        </p:nvGrpSpPr>
        <p:grpSpPr>
          <a:xfrm>
            <a:off x="443231" y="1028288"/>
            <a:ext cx="10741649" cy="5355725"/>
            <a:chOff x="177050" y="890546"/>
            <a:chExt cx="9477925" cy="4725640"/>
          </a:xfrm>
        </p:grpSpPr>
        <p:sp>
          <p:nvSpPr>
            <p:cNvPr id="28" name="Inhaltsplatzhalter 15"/>
            <p:cNvSpPr txBox="1">
              <a:spLocks/>
            </p:cNvSpPr>
            <p:nvPr/>
          </p:nvSpPr>
          <p:spPr bwMode="auto">
            <a:xfrm>
              <a:off x="177050" y="890546"/>
              <a:ext cx="4163138" cy="472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04000" bIns="0" numCol="1" anchor="t" anchorCtr="0" compatLnSpc="1">
              <a:prstTxWarp prst="textNoShape">
                <a:avLst/>
              </a:prstTxWarp>
            </a:bodyPr>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320032" indent="-320032">
                <a:buClr>
                  <a:schemeClr val="tx1"/>
                </a:buClr>
              </a:pPr>
              <a:r>
                <a:rPr lang="de-DE" sz="2133" kern="0" dirty="0">
                  <a:latin typeface="+mj-lt"/>
                </a:rPr>
                <a:t>Top Level Standard ist die erste Referenz</a:t>
              </a:r>
            </a:p>
            <a:p>
              <a:pPr marL="320032" indent="-320032">
                <a:buClr>
                  <a:schemeClr val="tx1"/>
                </a:buClr>
              </a:pPr>
              <a:r>
                <a:rPr lang="de-DE" sz="2133" kern="0" dirty="0">
                  <a:latin typeface="+mj-lt"/>
                </a:rPr>
                <a:t>A-Level (höchste Standards)</a:t>
              </a:r>
            </a:p>
            <a:p>
              <a:pPr marL="716050" lvl="1" indent="-210497"/>
              <a:r>
                <a:rPr lang="de-DE" sz="1813" kern="0" dirty="0">
                  <a:latin typeface="+mj-lt"/>
                </a:rPr>
                <a:t>Grundlegende Sicherheitskenntnisse</a:t>
              </a:r>
            </a:p>
            <a:p>
              <a:pPr marL="716050" lvl="1" indent="-210497"/>
              <a:r>
                <a:rPr lang="de-DE" sz="1813" kern="0" dirty="0">
                  <a:latin typeface="+mj-lt"/>
                </a:rPr>
                <a:t>Grundlegende Design Features</a:t>
              </a:r>
            </a:p>
            <a:p>
              <a:pPr marL="716050" lvl="1" indent="-210497"/>
              <a:r>
                <a:rPr lang="de-DE" sz="1813" kern="0" dirty="0">
                  <a:latin typeface="+mj-lt"/>
                </a:rPr>
                <a:t>Allgemeine Maschinenaspekte</a:t>
              </a:r>
            </a:p>
            <a:p>
              <a:pPr marL="320032" indent="-320032">
                <a:buClr>
                  <a:schemeClr val="tx1"/>
                </a:buClr>
              </a:pPr>
              <a:r>
                <a:rPr lang="de-DE" sz="2133" kern="0" dirty="0">
                  <a:latin typeface="+mj-lt"/>
                </a:rPr>
                <a:t>B-Level</a:t>
              </a:r>
            </a:p>
            <a:p>
              <a:pPr marL="716050" lvl="1" indent="-210497"/>
              <a:r>
                <a:rPr lang="de-DE" sz="1813" kern="0" dirty="0">
                  <a:latin typeface="+mj-lt"/>
                </a:rPr>
                <a:t>Spezifischere Angaben</a:t>
              </a:r>
            </a:p>
            <a:p>
              <a:pPr marL="716050" lvl="1" indent="-210497"/>
              <a:r>
                <a:rPr lang="de-DE" sz="1813" kern="0" dirty="0">
                  <a:latin typeface="+mj-lt"/>
                </a:rPr>
                <a:t>Risikograph zur Schätzung einer Gefahr</a:t>
              </a:r>
            </a:p>
            <a:p>
              <a:pPr marL="716050" lvl="1" indent="-210497"/>
              <a:r>
                <a:rPr lang="de-DE" sz="1813" kern="0" dirty="0">
                  <a:latin typeface="+mj-lt"/>
                </a:rPr>
                <a:t>Verschiedene Maschinentypen</a:t>
              </a:r>
            </a:p>
            <a:p>
              <a:pPr marL="320032" indent="-320032">
                <a:buClr>
                  <a:schemeClr val="tx1"/>
                </a:buClr>
              </a:pPr>
              <a:r>
                <a:rPr lang="de-DE" sz="2133" kern="0" dirty="0">
                  <a:latin typeface="+mj-lt"/>
                </a:rPr>
                <a:t>C-Level</a:t>
              </a:r>
            </a:p>
            <a:p>
              <a:pPr marL="716050" lvl="1" indent="-210497"/>
              <a:r>
                <a:rPr lang="de-DE" sz="1813" kern="0" dirty="0">
                  <a:latin typeface="+mj-lt"/>
                </a:rPr>
                <a:t>Konkrete Sicherheitsanforderungen</a:t>
              </a:r>
            </a:p>
            <a:p>
              <a:pPr marL="716050" lvl="1" indent="-210497"/>
              <a:r>
                <a:rPr lang="de-DE" sz="1813" kern="0" dirty="0">
                  <a:latin typeface="+mj-lt"/>
                </a:rPr>
                <a:t>Spezifische Maschinen</a:t>
              </a:r>
            </a:p>
            <a:p>
              <a:pPr marL="716050" lvl="1" indent="-210497"/>
              <a:r>
                <a:rPr lang="de-DE" sz="1813" kern="0" dirty="0">
                  <a:latin typeface="+mj-lt"/>
                </a:rPr>
                <a:t>Beispielsweise Robotersysteme</a:t>
              </a:r>
            </a:p>
          </p:txBody>
        </p:sp>
        <p:grpSp>
          <p:nvGrpSpPr>
            <p:cNvPr id="29" name="Gruppieren 28"/>
            <p:cNvGrpSpPr/>
            <p:nvPr/>
          </p:nvGrpSpPr>
          <p:grpSpPr>
            <a:xfrm>
              <a:off x="4629150" y="990600"/>
              <a:ext cx="5025825" cy="809625"/>
              <a:chOff x="4629150" y="990600"/>
              <a:chExt cx="5025825" cy="809625"/>
            </a:xfrm>
          </p:grpSpPr>
          <p:sp>
            <p:nvSpPr>
              <p:cNvPr id="46" name="Rechteck 45"/>
              <p:cNvSpPr/>
              <p:nvPr/>
            </p:nvSpPr>
            <p:spPr bwMode="auto">
              <a:xfrm>
                <a:off x="4629150" y="990600"/>
                <a:ext cx="5025825" cy="809625"/>
              </a:xfrm>
              <a:prstGeom prst="rect">
                <a:avLst/>
              </a:prstGeom>
              <a:solidFill>
                <a:schemeClr val="bg1">
                  <a:lumMod val="95000"/>
                </a:schemeClr>
              </a:solidFill>
              <a:ln w="9176" cap="flat" cmpd="sng" algn="ctr">
                <a:solidFill>
                  <a:schemeClr val="tx1"/>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mj-lt"/>
                </a:endParaRPr>
              </a:p>
            </p:txBody>
          </p:sp>
          <p:sp>
            <p:nvSpPr>
              <p:cNvPr id="47" name="Rechteck 46"/>
              <p:cNvSpPr/>
              <p:nvPr/>
            </p:nvSpPr>
            <p:spPr bwMode="auto">
              <a:xfrm>
                <a:off x="4825899" y="1109662"/>
                <a:ext cx="2251175" cy="571500"/>
              </a:xfrm>
              <a:prstGeom prst="rect">
                <a:avLst/>
              </a:prstGeom>
              <a:solidFill>
                <a:schemeClr val="accent4">
                  <a:lumMod val="60000"/>
                  <a:lumOff val="40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algn="ctr" defTabSz="1219170" fontAlgn="base">
                  <a:spcBef>
                    <a:spcPct val="0"/>
                  </a:spcBef>
                  <a:spcAft>
                    <a:spcPct val="0"/>
                  </a:spcAft>
                </a:pPr>
                <a:r>
                  <a:rPr lang="de-DE" sz="1813" dirty="0">
                    <a:latin typeface="+mj-lt"/>
                  </a:rPr>
                  <a:t>DIN EN IEC 61508 –</a:t>
                </a:r>
                <a:br>
                  <a:rPr lang="de-DE" sz="1813" dirty="0">
                    <a:latin typeface="+mj-lt"/>
                  </a:rPr>
                </a:br>
                <a:r>
                  <a:rPr lang="de-DE" sz="1813" dirty="0">
                    <a:latin typeface="+mj-lt"/>
                  </a:rPr>
                  <a:t>Funktionale Sicherheit</a:t>
                </a:r>
              </a:p>
            </p:txBody>
          </p:sp>
          <p:sp>
            <p:nvSpPr>
              <p:cNvPr id="48" name="Rechteck 47"/>
              <p:cNvSpPr/>
              <p:nvPr/>
            </p:nvSpPr>
            <p:spPr bwMode="auto">
              <a:xfrm>
                <a:off x="7760900" y="1109660"/>
                <a:ext cx="1753200" cy="571500"/>
              </a:xfrm>
              <a:prstGeom prst="rect">
                <a:avLst/>
              </a:prstGeom>
              <a:solidFill>
                <a:schemeClr val="accent4">
                  <a:lumMod val="60000"/>
                  <a:lumOff val="40000"/>
                </a:schemeClr>
              </a:solidFill>
              <a:ln w="9176" cap="flat" cmpd="sng" algn="ctr">
                <a:solidFill>
                  <a:schemeClr val="tx1"/>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algn="ctr" defTabSz="1219170" fontAlgn="base">
                  <a:spcBef>
                    <a:spcPct val="0"/>
                  </a:spcBef>
                  <a:spcAft>
                    <a:spcPct val="0"/>
                  </a:spcAft>
                </a:pPr>
                <a:r>
                  <a:rPr lang="de-DE" sz="1813" dirty="0">
                    <a:latin typeface="+mj-lt"/>
                  </a:rPr>
                  <a:t>ISO 12100 – </a:t>
                </a:r>
                <a:br>
                  <a:rPr lang="de-DE" sz="1813" dirty="0">
                    <a:latin typeface="+mj-lt"/>
                  </a:rPr>
                </a:br>
                <a:r>
                  <a:rPr lang="de-DE" sz="1813" dirty="0">
                    <a:latin typeface="+mj-lt"/>
                  </a:rPr>
                  <a:t>Risikobeurteilung</a:t>
                </a:r>
              </a:p>
            </p:txBody>
          </p:sp>
        </p:grpSp>
        <p:grpSp>
          <p:nvGrpSpPr>
            <p:cNvPr id="30" name="Gruppieren 29"/>
            <p:cNvGrpSpPr/>
            <p:nvPr/>
          </p:nvGrpSpPr>
          <p:grpSpPr>
            <a:xfrm>
              <a:off x="4629149" y="2356835"/>
              <a:ext cx="5025825" cy="814389"/>
              <a:chOff x="4629149" y="2324101"/>
              <a:chExt cx="5025825" cy="542924"/>
            </a:xfrm>
          </p:grpSpPr>
          <p:sp>
            <p:nvSpPr>
              <p:cNvPr id="43" name="Rechteck 42"/>
              <p:cNvSpPr/>
              <p:nvPr/>
            </p:nvSpPr>
            <p:spPr bwMode="auto">
              <a:xfrm>
                <a:off x="4629149" y="2324101"/>
                <a:ext cx="5025825" cy="542924"/>
              </a:xfrm>
              <a:prstGeom prst="rect">
                <a:avLst/>
              </a:prstGeom>
              <a:solidFill>
                <a:schemeClr val="bg1">
                  <a:lumMod val="95000"/>
                </a:schemeClr>
              </a:solidFill>
              <a:ln w="9176" cap="flat" cmpd="sng" algn="ctr">
                <a:solidFill>
                  <a:schemeClr val="tx1"/>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lgn="ctr" defTabSz="1219170" fontAlgn="base">
                  <a:spcBef>
                    <a:spcPct val="0"/>
                  </a:spcBef>
                  <a:spcAft>
                    <a:spcPct val="0"/>
                  </a:spcAft>
                </a:pPr>
                <a:r>
                  <a:rPr lang="de-DE" sz="2040" dirty="0">
                    <a:latin typeface="+mj-lt"/>
                  </a:rPr>
                  <a:t>           </a:t>
                </a:r>
                <a:r>
                  <a:rPr lang="de-DE" sz="2040" dirty="0" err="1">
                    <a:latin typeface="+mj-lt"/>
                  </a:rPr>
                  <a:t>or</a:t>
                </a:r>
                <a:endParaRPr lang="de-DE" sz="2040" dirty="0">
                  <a:latin typeface="+mj-lt"/>
                </a:endParaRPr>
              </a:p>
            </p:txBody>
          </p:sp>
          <p:sp>
            <p:nvSpPr>
              <p:cNvPr id="44" name="Rechteck 43"/>
              <p:cNvSpPr/>
              <p:nvPr/>
            </p:nvSpPr>
            <p:spPr bwMode="auto">
              <a:xfrm>
                <a:off x="4797024" y="2431257"/>
                <a:ext cx="2403875" cy="319088"/>
              </a:xfrm>
              <a:prstGeom prst="rect">
                <a:avLst/>
              </a:prstGeom>
              <a:solidFill>
                <a:schemeClr val="accent4">
                  <a:lumMod val="75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lgn="ctr" defTabSz="1219170" fontAlgn="base">
                  <a:spcBef>
                    <a:spcPct val="0"/>
                  </a:spcBef>
                  <a:spcAft>
                    <a:spcPct val="0"/>
                  </a:spcAft>
                </a:pPr>
                <a:r>
                  <a:rPr lang="de-DE" sz="1813" dirty="0">
                    <a:latin typeface="+mj-lt"/>
                  </a:rPr>
                  <a:t>EN ISO 13849 – 1 :2008</a:t>
                </a:r>
              </a:p>
            </p:txBody>
          </p:sp>
          <p:sp>
            <p:nvSpPr>
              <p:cNvPr id="45" name="Rechteck 44"/>
              <p:cNvSpPr/>
              <p:nvPr/>
            </p:nvSpPr>
            <p:spPr bwMode="auto">
              <a:xfrm>
                <a:off x="7760899" y="2431257"/>
                <a:ext cx="1752600" cy="319088"/>
              </a:xfrm>
              <a:prstGeom prst="rect">
                <a:avLst/>
              </a:prstGeom>
              <a:solidFill>
                <a:schemeClr val="accent4">
                  <a:lumMod val="75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lgn="ctr" defTabSz="1219170" fontAlgn="base">
                  <a:spcBef>
                    <a:spcPct val="0"/>
                  </a:spcBef>
                  <a:spcAft>
                    <a:spcPct val="0"/>
                  </a:spcAft>
                </a:pPr>
                <a:r>
                  <a:rPr lang="de-DE" sz="1813" dirty="0">
                    <a:latin typeface="+mj-lt"/>
                  </a:rPr>
                  <a:t>IEC 62061 :2005</a:t>
                </a:r>
              </a:p>
            </p:txBody>
          </p:sp>
        </p:grpSp>
        <p:grpSp>
          <p:nvGrpSpPr>
            <p:cNvPr id="31" name="Gruppieren 30"/>
            <p:cNvGrpSpPr/>
            <p:nvPr/>
          </p:nvGrpSpPr>
          <p:grpSpPr>
            <a:xfrm>
              <a:off x="4629149" y="3724276"/>
              <a:ext cx="5025825" cy="1752600"/>
              <a:chOff x="4629150" y="3390901"/>
              <a:chExt cx="5025825" cy="1752600"/>
            </a:xfrm>
          </p:grpSpPr>
          <p:sp>
            <p:nvSpPr>
              <p:cNvPr id="38" name="Rechteck 37"/>
              <p:cNvSpPr/>
              <p:nvPr/>
            </p:nvSpPr>
            <p:spPr bwMode="auto">
              <a:xfrm>
                <a:off x="4629150" y="3390901"/>
                <a:ext cx="5025825" cy="1752600"/>
              </a:xfrm>
              <a:prstGeom prst="rect">
                <a:avLst/>
              </a:prstGeom>
              <a:solidFill>
                <a:schemeClr val="bg1">
                  <a:lumMod val="95000"/>
                </a:schemeClr>
              </a:solidFill>
              <a:ln w="9176" cap="flat" cmpd="sng" algn="ctr">
                <a:solidFill>
                  <a:schemeClr val="tx1"/>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mj-lt"/>
                </a:endParaRPr>
              </a:p>
            </p:txBody>
          </p:sp>
          <p:sp>
            <p:nvSpPr>
              <p:cNvPr id="39" name="Rechteck 38"/>
              <p:cNvSpPr/>
              <p:nvPr/>
            </p:nvSpPr>
            <p:spPr bwMode="auto">
              <a:xfrm>
                <a:off x="4797024" y="3509962"/>
                <a:ext cx="4716475" cy="571500"/>
              </a:xfrm>
              <a:prstGeom prst="rect">
                <a:avLst/>
              </a:prstGeom>
              <a:solidFill>
                <a:schemeClr val="accent4">
                  <a:lumMod val="50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algn="ctr" defTabSz="1219170" fontAlgn="base">
                  <a:spcBef>
                    <a:spcPct val="0"/>
                  </a:spcBef>
                  <a:spcAft>
                    <a:spcPct val="0"/>
                  </a:spcAft>
                </a:pPr>
                <a:r>
                  <a:rPr lang="de-DE" sz="1813" dirty="0">
                    <a:latin typeface="+mj-lt"/>
                  </a:rPr>
                  <a:t>ISO 11161 – Integrierte Fertigungssysteme</a:t>
                </a:r>
              </a:p>
            </p:txBody>
          </p:sp>
          <p:sp>
            <p:nvSpPr>
              <p:cNvPr id="40" name="Rechteck 39"/>
              <p:cNvSpPr/>
              <p:nvPr/>
            </p:nvSpPr>
            <p:spPr bwMode="auto">
              <a:xfrm>
                <a:off x="4977998" y="3914774"/>
                <a:ext cx="4375551" cy="571500"/>
              </a:xfrm>
              <a:prstGeom prst="rect">
                <a:avLst/>
              </a:prstGeom>
              <a:solidFill>
                <a:schemeClr val="accent3">
                  <a:lumMod val="75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algn="ctr" defTabSz="1219170" fontAlgn="base">
                  <a:spcBef>
                    <a:spcPct val="0"/>
                  </a:spcBef>
                  <a:spcAft>
                    <a:spcPct val="0"/>
                  </a:spcAft>
                </a:pPr>
                <a:r>
                  <a:rPr lang="de-DE" sz="1813" dirty="0">
                    <a:latin typeface="+mj-lt"/>
                  </a:rPr>
                  <a:t>ISO 10218-2 – Roboter und </a:t>
                </a:r>
                <a:r>
                  <a:rPr lang="de-DE" sz="1813" dirty="0" err="1">
                    <a:latin typeface="+mj-lt"/>
                  </a:rPr>
                  <a:t>Robotikgeräte</a:t>
                </a:r>
                <a:endParaRPr lang="de-DE" sz="1813" dirty="0">
                  <a:latin typeface="+mj-lt"/>
                </a:endParaRPr>
              </a:p>
            </p:txBody>
          </p:sp>
          <p:sp>
            <p:nvSpPr>
              <p:cNvPr id="41" name="Rechteck 40"/>
              <p:cNvSpPr/>
              <p:nvPr/>
            </p:nvSpPr>
            <p:spPr bwMode="auto">
              <a:xfrm>
                <a:off x="4892274" y="4414837"/>
                <a:ext cx="1743075" cy="571500"/>
              </a:xfrm>
              <a:prstGeom prst="rect">
                <a:avLst/>
              </a:prstGeom>
              <a:solidFill>
                <a:schemeClr val="accent3">
                  <a:lumMod val="50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algn="ctr" defTabSz="1219170" fontAlgn="base">
                  <a:spcBef>
                    <a:spcPct val="0"/>
                  </a:spcBef>
                  <a:spcAft>
                    <a:spcPct val="0"/>
                  </a:spcAft>
                </a:pPr>
                <a:r>
                  <a:rPr lang="de-DE" sz="1813" dirty="0">
                    <a:solidFill>
                      <a:schemeClr val="bg1"/>
                    </a:solidFill>
                    <a:latin typeface="+mj-lt"/>
                  </a:rPr>
                  <a:t>ISO 10218-1 – Industrieroboter</a:t>
                </a:r>
              </a:p>
            </p:txBody>
          </p:sp>
          <p:sp>
            <p:nvSpPr>
              <p:cNvPr id="42" name="Rechteck 41"/>
              <p:cNvSpPr/>
              <p:nvPr/>
            </p:nvSpPr>
            <p:spPr bwMode="auto">
              <a:xfrm>
                <a:off x="7077075" y="4414837"/>
                <a:ext cx="2390775" cy="571500"/>
              </a:xfrm>
              <a:prstGeom prst="rect">
                <a:avLst/>
              </a:prstGeom>
              <a:solidFill>
                <a:schemeClr val="accent3">
                  <a:lumMod val="50000"/>
                </a:schemeClr>
              </a:solidFill>
              <a:ln w="9176"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algn="ctr" defTabSz="1219170" fontAlgn="base">
                  <a:spcBef>
                    <a:spcPct val="0"/>
                  </a:spcBef>
                  <a:spcAft>
                    <a:spcPct val="0"/>
                  </a:spcAft>
                </a:pPr>
                <a:r>
                  <a:rPr lang="de-DE" sz="1813" dirty="0">
                    <a:solidFill>
                      <a:schemeClr val="bg1"/>
                    </a:solidFill>
                    <a:latin typeface="+mj-lt"/>
                  </a:rPr>
                  <a:t>ISO/TS 15066 – Kollaborierende Roboter</a:t>
                </a:r>
              </a:p>
            </p:txBody>
          </p:sp>
        </p:grpSp>
        <p:sp>
          <p:nvSpPr>
            <p:cNvPr id="32" name="Pfeil nach unten 31"/>
            <p:cNvSpPr/>
            <p:nvPr/>
          </p:nvSpPr>
          <p:spPr bwMode="auto">
            <a:xfrm>
              <a:off x="6996112" y="1800225"/>
              <a:ext cx="457200" cy="547685"/>
            </a:xfrm>
            <a:prstGeom prst="downArrow">
              <a:avLst/>
            </a:prstGeom>
            <a:solidFill>
              <a:srgbClr val="DDDDDD"/>
            </a:solidFill>
            <a:ln w="9176"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mj-lt"/>
              </a:endParaRPr>
            </a:p>
          </p:txBody>
        </p:sp>
        <p:sp>
          <p:nvSpPr>
            <p:cNvPr id="33" name="Textfeld 32"/>
            <p:cNvSpPr txBox="1"/>
            <p:nvPr/>
          </p:nvSpPr>
          <p:spPr>
            <a:xfrm rot="16200000">
              <a:off x="4083463" y="1241493"/>
              <a:ext cx="809624" cy="307834"/>
            </a:xfrm>
            <a:prstGeom prst="rect">
              <a:avLst/>
            </a:prstGeom>
            <a:noFill/>
          </p:spPr>
          <p:txBody>
            <a:bodyPr wrap="square" lIns="103632" tIns="51816" rIns="103632" bIns="51816" rtlCol="0">
              <a:spAutoFit/>
            </a:bodyPr>
            <a:lstStyle/>
            <a:p>
              <a:r>
                <a:rPr lang="de-DE" sz="1587" dirty="0">
                  <a:latin typeface="+mj-lt"/>
                </a:rPr>
                <a:t>Level A</a:t>
              </a:r>
            </a:p>
          </p:txBody>
        </p:sp>
        <p:sp>
          <p:nvSpPr>
            <p:cNvPr id="34" name="Textfeld 33"/>
            <p:cNvSpPr txBox="1"/>
            <p:nvPr/>
          </p:nvSpPr>
          <p:spPr>
            <a:xfrm rot="16200000">
              <a:off x="4083462" y="2603570"/>
              <a:ext cx="809624" cy="307834"/>
            </a:xfrm>
            <a:prstGeom prst="rect">
              <a:avLst/>
            </a:prstGeom>
            <a:noFill/>
          </p:spPr>
          <p:txBody>
            <a:bodyPr wrap="square" lIns="103632" tIns="51816" rIns="103632" bIns="51816" rtlCol="0">
              <a:spAutoFit/>
            </a:bodyPr>
            <a:lstStyle/>
            <a:p>
              <a:r>
                <a:rPr lang="de-DE" sz="1587" dirty="0">
                  <a:latin typeface="+mj-lt"/>
                </a:rPr>
                <a:t>Level B</a:t>
              </a:r>
            </a:p>
          </p:txBody>
        </p:sp>
        <p:sp>
          <p:nvSpPr>
            <p:cNvPr id="35" name="Textfeld 34"/>
            <p:cNvSpPr txBox="1"/>
            <p:nvPr/>
          </p:nvSpPr>
          <p:spPr>
            <a:xfrm rot="16200000">
              <a:off x="4083461" y="4379982"/>
              <a:ext cx="809624" cy="307834"/>
            </a:xfrm>
            <a:prstGeom prst="rect">
              <a:avLst/>
            </a:prstGeom>
            <a:noFill/>
          </p:spPr>
          <p:txBody>
            <a:bodyPr wrap="square" lIns="103632" tIns="51816" rIns="103632" bIns="51816" rtlCol="0">
              <a:spAutoFit/>
            </a:bodyPr>
            <a:lstStyle/>
            <a:p>
              <a:r>
                <a:rPr lang="de-DE" sz="1587" dirty="0">
                  <a:latin typeface="+mj-lt"/>
                </a:rPr>
                <a:t>Level C</a:t>
              </a:r>
            </a:p>
          </p:txBody>
        </p:sp>
        <p:sp>
          <p:nvSpPr>
            <p:cNvPr id="36" name="Pfeil nach unten 35"/>
            <p:cNvSpPr/>
            <p:nvPr/>
          </p:nvSpPr>
          <p:spPr bwMode="auto">
            <a:xfrm>
              <a:off x="6996112" y="3171227"/>
              <a:ext cx="457200" cy="547685"/>
            </a:xfrm>
            <a:prstGeom prst="downArrow">
              <a:avLst/>
            </a:prstGeom>
            <a:solidFill>
              <a:srgbClr val="DDDDDD"/>
            </a:solidFill>
            <a:ln w="9176"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defTabSz="1219170" fontAlgn="base">
                <a:spcBef>
                  <a:spcPct val="0"/>
                </a:spcBef>
                <a:spcAft>
                  <a:spcPct val="0"/>
                </a:spcAft>
              </a:pPr>
              <a:endParaRPr lang="de-DE" sz="2400" dirty="0">
                <a:latin typeface="+mj-lt"/>
              </a:endParaRPr>
            </a:p>
          </p:txBody>
        </p:sp>
      </p:grpSp>
    </p:spTree>
    <p:extLst>
      <p:ext uri="{BB962C8B-B14F-4D97-AF65-F5344CB8AC3E}">
        <p14:creationId xmlns:p14="http://schemas.microsoft.com/office/powerpoint/2010/main" val="3982390243"/>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4418" y="221023"/>
            <a:ext cx="9023349" cy="715240"/>
          </a:xfrm>
        </p:spPr>
        <p:txBody>
          <a:bodyPr>
            <a:noAutofit/>
          </a:bodyPr>
          <a:lstStyle/>
          <a:p>
            <a:pPr>
              <a:lnSpc>
                <a:spcPct val="100000"/>
              </a:lnSpc>
            </a:pPr>
            <a:r>
              <a:rPr lang="de-DE" dirty="0"/>
              <a:t>DIN 12100: Vorgehensweise zur Auslegung von sicheren Maschinen und Anlagen</a:t>
            </a:r>
          </a:p>
        </p:txBody>
      </p:sp>
      <p:sp>
        <p:nvSpPr>
          <p:cNvPr id="4" name="Fußzeilenplatzhalter 3"/>
          <p:cNvSpPr>
            <a:spLocks noGrp="1"/>
          </p:cNvSpPr>
          <p:nvPr>
            <p:ph type="ftr" sz="quarter" idx="15"/>
          </p:nvPr>
        </p:nvSpPr>
        <p:spPr/>
        <p:txBody>
          <a:bodyPr/>
          <a:lstStyle/>
          <a:p>
            <a:pPr defTabSz="582069"/>
            <a:r>
              <a:rPr lang="de-DE"/>
              <a:t>Automation II</a:t>
            </a:r>
            <a:endParaRPr lang="de-DE" dirty="0"/>
          </a:p>
        </p:txBody>
      </p:sp>
      <p:sp>
        <p:nvSpPr>
          <p:cNvPr id="5" name="Foliennummernplatzhalter 4"/>
          <p:cNvSpPr>
            <a:spLocks noGrp="1"/>
          </p:cNvSpPr>
          <p:nvPr>
            <p:ph type="sldNum" sz="quarter" idx="16"/>
          </p:nvPr>
        </p:nvSpPr>
        <p:spPr/>
        <p:txBody>
          <a:bodyPr/>
          <a:lstStyle/>
          <a:p>
            <a:fld id="{1E6235D0-FF99-C045-995D-75C61122D1C1}" type="slidenum">
              <a:rPr lang="de-DE" smtClean="0"/>
              <a:pPr/>
              <a:t>7</a:t>
            </a:fld>
            <a:endParaRPr lang="de-DE" dirty="0"/>
          </a:p>
        </p:txBody>
      </p:sp>
      <p:grpSp>
        <p:nvGrpSpPr>
          <p:cNvPr id="43" name="Gruppieren 42"/>
          <p:cNvGrpSpPr>
            <a:grpSpLocks/>
          </p:cNvGrpSpPr>
          <p:nvPr/>
        </p:nvGrpSpPr>
        <p:grpSpPr>
          <a:xfrm>
            <a:off x="498526" y="1098607"/>
            <a:ext cx="19182732" cy="5590920"/>
            <a:chOff x="116085" y="882530"/>
            <a:chExt cx="17983812" cy="5241487"/>
          </a:xfrm>
        </p:grpSpPr>
        <p:cxnSp>
          <p:nvCxnSpPr>
            <p:cNvPr id="44" name="Gewinkelte Verbindung 32"/>
            <p:cNvCxnSpPr>
              <a:stCxn id="78" idx="3"/>
              <a:endCxn id="50" idx="0"/>
            </p:cNvCxnSpPr>
            <p:nvPr/>
          </p:nvCxnSpPr>
          <p:spPr>
            <a:xfrm>
              <a:off x="4581624" y="3732321"/>
              <a:ext cx="489742" cy="658875"/>
            </a:xfrm>
            <a:prstGeom prst="bentConnector2">
              <a:avLst/>
            </a:prstGeom>
            <a:ln w="762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46" name="Rectangle 3"/>
            <p:cNvSpPr txBox="1">
              <a:spLocks noChangeArrowheads="1"/>
            </p:cNvSpPr>
            <p:nvPr/>
          </p:nvSpPr>
          <p:spPr>
            <a:xfrm>
              <a:off x="6539964" y="1086815"/>
              <a:ext cx="4470515" cy="4763544"/>
            </a:xfrm>
            <a:prstGeom prst="rect">
              <a:avLst/>
            </a:prstGeo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97536" tIns="48768" rIns="97536" bIns="48768"/>
            <a:lstStyle>
              <a:lvl1pPr marL="266700" indent="-2667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631825" indent="-185738"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981075" indent="-169863"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a:buNone/>
              </a:pPr>
              <a:r>
                <a:rPr lang="de-DE" sz="1920" dirty="0">
                  <a:latin typeface="+mj-lt"/>
                </a:rPr>
                <a:t>Feste Reihenfolge der Prioritäten bei der Risikominderung:</a:t>
              </a:r>
            </a:p>
            <a:p>
              <a:pPr marL="284473" indent="-284473">
                <a:buClr>
                  <a:srgbClr val="002060"/>
                </a:buClr>
              </a:pPr>
              <a:r>
                <a:rPr lang="de-DE" sz="1920" b="1" dirty="0">
                  <a:latin typeface="+mj-lt"/>
                </a:rPr>
                <a:t>Konstruktive Maßnahmen </a:t>
              </a:r>
              <a:r>
                <a:rPr lang="de-DE" sz="1920" dirty="0">
                  <a:latin typeface="+mj-lt"/>
                </a:rPr>
                <a:t>zur Minderung eines Risikos sollen zuerst angewandt werden</a:t>
              </a:r>
            </a:p>
            <a:p>
              <a:pPr marL="284473" indent="-284473">
                <a:buClr>
                  <a:srgbClr val="002060"/>
                </a:buClr>
              </a:pPr>
              <a:r>
                <a:rPr lang="de-DE" sz="1920" dirty="0">
                  <a:latin typeface="+mj-lt"/>
                </a:rPr>
                <a:t>Bei unzureichender Minderung werden </a:t>
              </a:r>
              <a:r>
                <a:rPr lang="de-DE" sz="1920" b="1" dirty="0">
                  <a:latin typeface="+mj-lt"/>
                </a:rPr>
                <a:t>technische Sicherheitsmaßnahmen </a:t>
              </a:r>
              <a:r>
                <a:rPr lang="de-DE" sz="1920" dirty="0">
                  <a:latin typeface="+mj-lt"/>
                </a:rPr>
                <a:t>eingesetzt</a:t>
              </a:r>
            </a:p>
            <a:p>
              <a:pPr marL="284473" indent="-284473">
                <a:buClr>
                  <a:srgbClr val="002060"/>
                </a:buClr>
              </a:pPr>
              <a:r>
                <a:rPr lang="de-CH" sz="1920" dirty="0">
                  <a:latin typeface="+mj-lt"/>
                </a:rPr>
                <a:t>Kann eine Maschine auch mit </a:t>
              </a:r>
              <a:r>
                <a:rPr lang="de-CH" sz="1920" b="1" dirty="0">
                  <a:latin typeface="+mj-lt"/>
                </a:rPr>
                <a:t>ergänzenden Schutzmaßnahmen nicht sicher </a:t>
              </a:r>
              <a:r>
                <a:rPr lang="de-CH" sz="1920" dirty="0">
                  <a:latin typeface="+mj-lt"/>
                </a:rPr>
                <a:t>gestaltet werden, darf die </a:t>
              </a:r>
              <a:r>
                <a:rPr lang="de-CH" sz="1920" b="1" dirty="0">
                  <a:latin typeface="+mj-lt"/>
                </a:rPr>
                <a:t>Verantwortung erst im letzten Schritt </a:t>
              </a:r>
              <a:r>
                <a:rPr lang="de-CH" sz="1920" dirty="0">
                  <a:latin typeface="+mj-lt"/>
                </a:rPr>
                <a:t>an den </a:t>
              </a:r>
              <a:r>
                <a:rPr lang="de-CH" sz="1920" b="1" dirty="0">
                  <a:latin typeface="+mj-lt"/>
                </a:rPr>
                <a:t>Benutzer</a:t>
              </a:r>
              <a:r>
                <a:rPr lang="de-CH" sz="1920" dirty="0">
                  <a:latin typeface="+mj-lt"/>
                </a:rPr>
                <a:t> übertragen werden.</a:t>
              </a:r>
            </a:p>
            <a:p>
              <a:pPr marL="0" indent="0">
                <a:buClr>
                  <a:srgbClr val="002060"/>
                </a:buClr>
                <a:buNone/>
                <a:tabLst>
                  <a:tab pos="266700" algn="l"/>
                  <a:tab pos="539750" algn="l"/>
                  <a:tab pos="981075" algn="l"/>
                </a:tabLst>
              </a:pPr>
              <a:r>
                <a:rPr lang="de-DE" sz="1920" b="1" dirty="0">
                  <a:latin typeface="+mj-lt"/>
                  <a:sym typeface="Wingdings" panose="05000000000000000000" pitchFamily="2" charset="2"/>
                </a:rPr>
                <a:t>	</a:t>
              </a:r>
              <a:r>
                <a:rPr lang="de-DE" sz="1920" b="1" dirty="0">
                  <a:latin typeface="+mj-lt"/>
                </a:rPr>
                <a:t>Mitarbeiter</a:t>
              </a:r>
              <a:r>
                <a:rPr lang="de-DE" sz="1920" dirty="0">
                  <a:latin typeface="+mj-lt"/>
                </a:rPr>
                <a:t> über Restrisiko 				</a:t>
              </a:r>
              <a:r>
                <a:rPr lang="de-DE" sz="1920" b="1" dirty="0">
                  <a:latin typeface="+mj-lt"/>
                </a:rPr>
                <a:t>informieren</a:t>
              </a:r>
            </a:p>
          </p:txBody>
        </p:sp>
        <p:sp>
          <p:nvSpPr>
            <p:cNvPr id="47" name="Flussdiagramm: Prozess 46"/>
            <p:cNvSpPr/>
            <p:nvPr/>
          </p:nvSpPr>
          <p:spPr>
            <a:xfrm>
              <a:off x="1409742" y="882530"/>
              <a:ext cx="2412479" cy="365317"/>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r>
                <a:rPr lang="de-DE" sz="1707" b="1" dirty="0">
                  <a:solidFill>
                    <a:schemeClr val="tx1"/>
                  </a:solidFill>
                  <a:latin typeface="+mj-lt"/>
                  <a:cs typeface="Arial" pitchFamily="34" charset="0"/>
                </a:rPr>
                <a:t>Risikobewertung</a:t>
              </a:r>
            </a:p>
          </p:txBody>
        </p:sp>
        <p:grpSp>
          <p:nvGrpSpPr>
            <p:cNvPr id="48" name="Gruppieren 47"/>
            <p:cNvGrpSpPr/>
            <p:nvPr/>
          </p:nvGrpSpPr>
          <p:grpSpPr>
            <a:xfrm>
              <a:off x="895350" y="1365024"/>
              <a:ext cx="3894583" cy="2869640"/>
              <a:chOff x="5373216" y="3008784"/>
              <a:chExt cx="2088232" cy="2345609"/>
            </a:xfrm>
          </p:grpSpPr>
          <p:sp>
            <p:nvSpPr>
              <p:cNvPr id="74" name="Flussdiagramm: Prozess 73"/>
              <p:cNvSpPr/>
              <p:nvPr/>
            </p:nvSpPr>
            <p:spPr>
              <a:xfrm>
                <a:off x="5373216" y="3008784"/>
                <a:ext cx="2088232" cy="2345609"/>
              </a:xfrm>
              <a:prstGeom prst="flowChartProcess">
                <a:avLst/>
              </a:prstGeom>
              <a:solidFill>
                <a:schemeClr val="tx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t"/>
              <a:lstStyle/>
              <a:p>
                <a:pPr algn="ctr"/>
                <a:r>
                  <a:rPr lang="de-DE" sz="1707" b="1" dirty="0">
                    <a:solidFill>
                      <a:schemeClr val="bg1"/>
                    </a:solidFill>
                    <a:latin typeface="+mj-lt"/>
                    <a:cs typeface="Arial" pitchFamily="34" charset="0"/>
                  </a:rPr>
                  <a:t>Sicheres Design durch den Konstrukteur</a:t>
                </a:r>
              </a:p>
            </p:txBody>
          </p:sp>
          <p:sp>
            <p:nvSpPr>
              <p:cNvPr id="75" name="Flussdiagramm: Prozess 74"/>
              <p:cNvSpPr/>
              <p:nvPr/>
            </p:nvSpPr>
            <p:spPr>
              <a:xfrm>
                <a:off x="5523526" y="3440832"/>
                <a:ext cx="1826229" cy="414240"/>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r>
                  <a:rPr lang="de-DE" sz="1707" b="1" dirty="0">
                    <a:solidFill>
                      <a:schemeClr val="tx1"/>
                    </a:solidFill>
                    <a:latin typeface="+mj-lt"/>
                    <a:cs typeface="Arial" pitchFamily="34" charset="0"/>
                  </a:rPr>
                  <a:t>Schritt 1</a:t>
                </a:r>
                <a:r>
                  <a:rPr lang="de-DE" sz="1707" dirty="0">
                    <a:solidFill>
                      <a:schemeClr val="tx1"/>
                    </a:solidFill>
                    <a:latin typeface="+mj-lt"/>
                    <a:cs typeface="Arial" pitchFamily="34" charset="0"/>
                  </a:rPr>
                  <a:t>:</a:t>
                </a:r>
              </a:p>
              <a:p>
                <a:r>
                  <a:rPr lang="de-DE" sz="1707" dirty="0">
                    <a:solidFill>
                      <a:schemeClr val="tx1"/>
                    </a:solidFill>
                    <a:latin typeface="+mj-lt"/>
                    <a:cs typeface="Arial" pitchFamily="34" charset="0"/>
                  </a:rPr>
                  <a:t>Inhärent sichere Konstruktion</a:t>
                </a:r>
              </a:p>
            </p:txBody>
          </p:sp>
          <p:sp>
            <p:nvSpPr>
              <p:cNvPr id="77" name="Flussdiagramm: Prozess 76"/>
              <p:cNvSpPr/>
              <p:nvPr/>
            </p:nvSpPr>
            <p:spPr>
              <a:xfrm>
                <a:off x="5523524" y="3904348"/>
                <a:ext cx="1826231" cy="658006"/>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r>
                  <a:rPr lang="de-DE" sz="1707" b="1" dirty="0">
                    <a:solidFill>
                      <a:schemeClr val="tx1"/>
                    </a:solidFill>
                    <a:latin typeface="+mj-lt"/>
                    <a:cs typeface="Arial" pitchFamily="34" charset="0"/>
                  </a:rPr>
                  <a:t>Schritt 2</a:t>
                </a:r>
                <a:r>
                  <a:rPr lang="de-DE" sz="1707" dirty="0">
                    <a:solidFill>
                      <a:schemeClr val="tx1"/>
                    </a:solidFill>
                    <a:latin typeface="+mj-lt"/>
                    <a:cs typeface="Arial" pitchFamily="34" charset="0"/>
                  </a:rPr>
                  <a:t>: Technische und zusätzliche Sicherheitsmaßnahmen</a:t>
                </a:r>
              </a:p>
            </p:txBody>
          </p:sp>
          <p:sp>
            <p:nvSpPr>
              <p:cNvPr id="78" name="Flussdiagramm: Prozess 77"/>
              <p:cNvSpPr/>
              <p:nvPr/>
            </p:nvSpPr>
            <p:spPr>
              <a:xfrm>
                <a:off x="5523524" y="4611629"/>
                <a:ext cx="1826231" cy="664309"/>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r>
                  <a:rPr lang="de-DE" sz="1707" b="1" dirty="0">
                    <a:solidFill>
                      <a:schemeClr val="tx1"/>
                    </a:solidFill>
                    <a:latin typeface="+mj-lt"/>
                    <a:cs typeface="Arial" pitchFamily="34" charset="0"/>
                  </a:rPr>
                  <a:t>Schritt 3</a:t>
                </a:r>
                <a:r>
                  <a:rPr lang="de-DE" sz="1707" dirty="0">
                    <a:solidFill>
                      <a:schemeClr val="tx1"/>
                    </a:solidFill>
                    <a:latin typeface="+mj-lt"/>
                    <a:cs typeface="Arial" pitchFamily="34" charset="0"/>
                  </a:rPr>
                  <a:t>: Werker-Informationen</a:t>
                </a:r>
              </a:p>
              <a:p>
                <a:pPr marL="182875" indent="-182875">
                  <a:buFont typeface="Arial" panose="020B0604020202020204" pitchFamily="34" charset="0"/>
                  <a:buChar char="•"/>
                </a:pPr>
                <a:r>
                  <a:rPr lang="de-DE" sz="1280" dirty="0">
                    <a:solidFill>
                      <a:schemeClr val="tx1"/>
                    </a:solidFill>
                    <a:latin typeface="+mj-lt"/>
                    <a:cs typeface="Arial" pitchFamily="34" charset="0"/>
                  </a:rPr>
                  <a:t>An der Maschine</a:t>
                </a:r>
              </a:p>
              <a:p>
                <a:pPr marL="182875" indent="-182875">
                  <a:buFont typeface="Arial" panose="020B0604020202020204" pitchFamily="34" charset="0"/>
                  <a:buChar char="•"/>
                </a:pPr>
                <a:r>
                  <a:rPr lang="de-DE" sz="1280" dirty="0">
                    <a:solidFill>
                      <a:schemeClr val="tx1"/>
                    </a:solidFill>
                    <a:latin typeface="+mj-lt"/>
                    <a:cs typeface="Arial" pitchFamily="34" charset="0"/>
                  </a:rPr>
                  <a:t>In der Bedienungsanleitung</a:t>
                </a:r>
              </a:p>
            </p:txBody>
          </p:sp>
        </p:grpSp>
        <p:sp>
          <p:nvSpPr>
            <p:cNvPr id="49" name="Flussdiagramm: Prozess 48"/>
            <p:cNvSpPr/>
            <p:nvPr/>
          </p:nvSpPr>
          <p:spPr>
            <a:xfrm>
              <a:off x="1597794" y="4763236"/>
              <a:ext cx="2374873" cy="1045663"/>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t"/>
            <a:lstStyle/>
            <a:p>
              <a:r>
                <a:rPr lang="de-DE" sz="1707" dirty="0">
                  <a:solidFill>
                    <a:schemeClr val="tx1"/>
                  </a:solidFill>
                  <a:latin typeface="+mj-lt"/>
                  <a:cs typeface="Arial" pitchFamily="34" charset="0"/>
                </a:rPr>
                <a:t>Sicherheitsmaßen, die durch den Anwender getroffen werden müssen</a:t>
              </a:r>
            </a:p>
          </p:txBody>
        </p:sp>
        <p:sp>
          <p:nvSpPr>
            <p:cNvPr id="50" name="Flussdiagramm: Prozess 49"/>
            <p:cNvSpPr/>
            <p:nvPr/>
          </p:nvSpPr>
          <p:spPr>
            <a:xfrm>
              <a:off x="4210050" y="4391196"/>
              <a:ext cx="1722631" cy="545199"/>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r>
                <a:rPr lang="de-DE" sz="1707" dirty="0">
                  <a:solidFill>
                    <a:schemeClr val="tx1"/>
                  </a:solidFill>
                  <a:latin typeface="+mj-lt"/>
                  <a:cs typeface="Arial" pitchFamily="34" charset="0"/>
                </a:rPr>
                <a:t>Information des Konstrukteurs</a:t>
              </a:r>
            </a:p>
          </p:txBody>
        </p:sp>
        <p:sp>
          <p:nvSpPr>
            <p:cNvPr id="51" name="Flussdiagramm: Prozess 50"/>
            <p:cNvSpPr/>
            <p:nvPr/>
          </p:nvSpPr>
          <p:spPr>
            <a:xfrm>
              <a:off x="116085" y="4333445"/>
              <a:ext cx="1164076" cy="563445"/>
            </a:xfrm>
            <a:prstGeom prst="flowChartProcess">
              <a:avLst/>
            </a:prstGeom>
            <a:solidFill>
              <a:schemeClr val="bg1"/>
            </a:solidFill>
            <a:ln w="762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r>
                <a:rPr lang="de-DE" sz="1707" dirty="0">
                  <a:solidFill>
                    <a:schemeClr val="tx1"/>
                  </a:solidFill>
                  <a:latin typeface="+mj-lt"/>
                  <a:cs typeface="Arial" pitchFamily="34" charset="0"/>
                </a:rPr>
                <a:t>Benutzer-daten</a:t>
              </a:r>
            </a:p>
          </p:txBody>
        </p:sp>
        <p:sp>
          <p:nvSpPr>
            <p:cNvPr id="52" name="Flussdiagramm: Prozess 51"/>
            <p:cNvSpPr/>
            <p:nvPr/>
          </p:nvSpPr>
          <p:spPr>
            <a:xfrm>
              <a:off x="4941462" y="3325960"/>
              <a:ext cx="1241582" cy="884495"/>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r>
                <a:rPr lang="de-DE" sz="1280" dirty="0">
                  <a:solidFill>
                    <a:schemeClr val="tx1"/>
                  </a:solidFill>
                  <a:latin typeface="+mj-lt"/>
                  <a:cs typeface="Arial" pitchFamily="34" charset="0"/>
                </a:rPr>
                <a:t>Restrisiko nach Maßnahmen durch den Konstrukteur</a:t>
              </a:r>
            </a:p>
          </p:txBody>
        </p:sp>
        <p:cxnSp>
          <p:nvCxnSpPr>
            <p:cNvPr id="53" name="Gewinkelte Verbindung 33"/>
            <p:cNvCxnSpPr>
              <a:stCxn id="50" idx="2"/>
              <a:endCxn id="49" idx="3"/>
            </p:cNvCxnSpPr>
            <p:nvPr/>
          </p:nvCxnSpPr>
          <p:spPr>
            <a:xfrm rot="5400000">
              <a:off x="4347181" y="4561882"/>
              <a:ext cx="349673" cy="1098699"/>
            </a:xfrm>
            <a:prstGeom prst="bentConnector2">
              <a:avLst/>
            </a:prstGeom>
            <a:ln w="762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4" name="Gewinkelte Verbindung 34"/>
            <p:cNvCxnSpPr>
              <a:stCxn id="49" idx="1"/>
              <a:endCxn id="51" idx="2"/>
            </p:cNvCxnSpPr>
            <p:nvPr/>
          </p:nvCxnSpPr>
          <p:spPr>
            <a:xfrm rot="10800000">
              <a:off x="698124" y="4896890"/>
              <a:ext cx="899671" cy="389178"/>
            </a:xfrm>
            <a:prstGeom prst="bentConnector2">
              <a:avLst/>
            </a:prstGeom>
            <a:ln w="762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5" name="Gewinkelte Verbindung 35"/>
            <p:cNvCxnSpPr>
              <a:stCxn id="51" idx="0"/>
              <a:endCxn id="75" idx="1"/>
            </p:cNvCxnSpPr>
            <p:nvPr/>
          </p:nvCxnSpPr>
          <p:spPr>
            <a:xfrm rot="5400000" flipH="1" flipV="1">
              <a:off x="-156327" y="3001439"/>
              <a:ext cx="2186457" cy="477557"/>
            </a:xfrm>
            <a:prstGeom prst="bentConnector2">
              <a:avLst/>
            </a:prstGeom>
            <a:ln w="762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6" name="Gewinkelte Verbindung 36"/>
            <p:cNvCxnSpPr>
              <a:stCxn id="51" idx="0"/>
              <a:endCxn id="47" idx="1"/>
            </p:cNvCxnSpPr>
            <p:nvPr/>
          </p:nvCxnSpPr>
          <p:spPr>
            <a:xfrm rot="5400000" flipH="1" flipV="1">
              <a:off x="-580196" y="2343508"/>
              <a:ext cx="3268256" cy="711619"/>
            </a:xfrm>
            <a:prstGeom prst="bentConnector2">
              <a:avLst/>
            </a:prstGeom>
            <a:ln w="762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57" name="Flussdiagramm: Prozess 56"/>
            <p:cNvSpPr/>
            <p:nvPr/>
          </p:nvSpPr>
          <p:spPr>
            <a:xfrm>
              <a:off x="4239293" y="5070423"/>
              <a:ext cx="1855628" cy="690631"/>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r>
                <a:rPr lang="de-DE" sz="1280" dirty="0">
                  <a:solidFill>
                    <a:schemeClr val="tx1"/>
                  </a:solidFill>
                  <a:latin typeface="+mj-lt"/>
                  <a:cs typeface="Arial" pitchFamily="34" charset="0"/>
                </a:rPr>
                <a:t>Restrisiko, nachdem alle Sicherheitsmaßnahmen getroffen wurden</a:t>
              </a:r>
            </a:p>
          </p:txBody>
        </p:sp>
        <p:grpSp>
          <p:nvGrpSpPr>
            <p:cNvPr id="59" name="Gruppieren 58"/>
            <p:cNvGrpSpPr/>
            <p:nvPr/>
          </p:nvGrpSpPr>
          <p:grpSpPr>
            <a:xfrm>
              <a:off x="5056750" y="1065188"/>
              <a:ext cx="1386028" cy="4785171"/>
              <a:chOff x="4746353" y="1082779"/>
              <a:chExt cx="1386028" cy="4785171"/>
            </a:xfrm>
          </p:grpSpPr>
          <p:sp>
            <p:nvSpPr>
              <p:cNvPr id="61" name="Rechteck 60"/>
              <p:cNvSpPr/>
              <p:nvPr/>
            </p:nvSpPr>
            <p:spPr>
              <a:xfrm>
                <a:off x="5406189" y="2458137"/>
                <a:ext cx="721959" cy="81456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endParaRPr lang="de-DE" sz="4800" dirty="0">
                  <a:latin typeface="+mj-lt"/>
                </a:endParaRPr>
              </a:p>
            </p:txBody>
          </p:sp>
          <p:sp>
            <p:nvSpPr>
              <p:cNvPr id="62" name="Rechteck 61"/>
              <p:cNvSpPr/>
              <p:nvPr/>
            </p:nvSpPr>
            <p:spPr>
              <a:xfrm>
                <a:off x="4758117" y="1082779"/>
                <a:ext cx="1370033" cy="81081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endParaRPr lang="de-DE" sz="4800" dirty="0">
                  <a:latin typeface="+mj-lt"/>
                </a:endParaRPr>
              </a:p>
            </p:txBody>
          </p:sp>
          <p:sp>
            <p:nvSpPr>
              <p:cNvPr id="63" name="Rechteck 62"/>
              <p:cNvSpPr/>
              <p:nvPr/>
            </p:nvSpPr>
            <p:spPr>
              <a:xfrm>
                <a:off x="5118157" y="1883918"/>
                <a:ext cx="1009992" cy="58764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endParaRPr lang="de-DE" sz="4800" dirty="0">
                  <a:latin typeface="+mj-lt"/>
                </a:endParaRPr>
              </a:p>
            </p:txBody>
          </p:sp>
          <p:sp>
            <p:nvSpPr>
              <p:cNvPr id="64" name="Rechteck 63"/>
              <p:cNvSpPr/>
              <p:nvPr/>
            </p:nvSpPr>
            <p:spPr>
              <a:xfrm>
                <a:off x="5792510" y="3018106"/>
                <a:ext cx="335639" cy="284984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endParaRPr lang="de-DE" sz="4800" dirty="0">
                  <a:latin typeface="+mj-lt"/>
                </a:endParaRPr>
              </a:p>
            </p:txBody>
          </p:sp>
          <p:sp>
            <p:nvSpPr>
              <p:cNvPr id="71" name="Pfeil nach links und rechts 70"/>
              <p:cNvSpPr/>
              <p:nvPr/>
            </p:nvSpPr>
            <p:spPr>
              <a:xfrm>
                <a:off x="5394046" y="2910323"/>
                <a:ext cx="721959" cy="280750"/>
              </a:xfrm>
              <a:prstGeom prst="leftRightArrow">
                <a:avLst/>
              </a:prstGeom>
              <a:solidFill>
                <a:schemeClr val="bg1"/>
              </a:solidFill>
              <a:ln w="1016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endParaRPr lang="de-DE" sz="4800" dirty="0">
                  <a:latin typeface="+mj-lt"/>
                </a:endParaRPr>
              </a:p>
            </p:txBody>
          </p:sp>
          <p:sp>
            <p:nvSpPr>
              <p:cNvPr id="72" name="Pfeil nach links und rechts 71"/>
              <p:cNvSpPr/>
              <p:nvPr/>
            </p:nvSpPr>
            <p:spPr>
              <a:xfrm>
                <a:off x="4746353" y="1336148"/>
                <a:ext cx="1379177" cy="528573"/>
              </a:xfrm>
              <a:prstGeom prst="leftRightArrow">
                <a:avLst/>
              </a:prstGeom>
              <a:solidFill>
                <a:schemeClr val="bg1"/>
              </a:solidFill>
              <a:ln w="1016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r>
                  <a:rPr lang="de-DE" sz="1707" dirty="0">
                    <a:solidFill>
                      <a:sysClr val="windowText" lastClr="000000"/>
                    </a:solidFill>
                    <a:latin typeface="+mj-lt"/>
                    <a:cs typeface="Arial" panose="020B0604020202020204" pitchFamily="34" charset="0"/>
                  </a:rPr>
                  <a:t>Risiko</a:t>
                </a:r>
              </a:p>
            </p:txBody>
          </p:sp>
          <p:sp>
            <p:nvSpPr>
              <p:cNvPr id="73" name="Pfeil nach links und rechts 72"/>
              <p:cNvSpPr/>
              <p:nvPr/>
            </p:nvSpPr>
            <p:spPr>
              <a:xfrm>
                <a:off x="5784156" y="4669119"/>
                <a:ext cx="348225" cy="280750"/>
              </a:xfrm>
              <a:prstGeom prst="leftRightArrow">
                <a:avLst/>
              </a:prstGeom>
              <a:solidFill>
                <a:schemeClr val="bg1"/>
              </a:solidFill>
              <a:ln w="1016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7536" tIns="48768" rIns="97536" bIns="48768" rtlCol="0" anchor="ctr"/>
              <a:lstStyle/>
              <a:p>
                <a:pPr algn="ctr"/>
                <a:endParaRPr lang="de-DE" sz="4800" dirty="0">
                  <a:latin typeface="+mj-lt"/>
                </a:endParaRPr>
              </a:p>
            </p:txBody>
          </p:sp>
        </p:grpSp>
        <p:sp>
          <p:nvSpPr>
            <p:cNvPr id="60" name="Quelle"/>
            <p:cNvSpPr txBox="1">
              <a:spLocks noChangeArrowheads="1"/>
            </p:cNvSpPr>
            <p:nvPr/>
          </p:nvSpPr>
          <p:spPr bwMode="auto">
            <a:xfrm>
              <a:off x="8632047" y="5933580"/>
              <a:ext cx="9467850" cy="19043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079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48768" anchor="b">
              <a:spAutoFit/>
            </a:bodyPr>
            <a:lstStyle>
              <a:defPPr>
                <a:defRPr lang="de-DE"/>
              </a:defPPr>
              <a:lvl1pPr marR="0" lvl="0" defTabSz="914400" fontAlgn="auto">
                <a:lnSpc>
                  <a:spcPct val="100000"/>
                </a:lnSpc>
                <a:spcBef>
                  <a:spcPts val="0"/>
                </a:spcBef>
                <a:spcAft>
                  <a:spcPts val="0"/>
                </a:spcAft>
                <a:buClrTx/>
                <a:buSzTx/>
                <a:buFontTx/>
                <a:buNone/>
                <a:tabLst/>
                <a:defRPr kumimoji="0" sz="750" b="0" i="0" u="none" strike="noStrike" kern="0" cap="none" spc="0" normalizeH="0" baseline="0">
                  <a:ln>
                    <a:noFill/>
                  </a:ln>
                  <a:solidFill>
                    <a:srgbClr val="000000"/>
                  </a:solidFill>
                  <a:effectLst/>
                  <a:uLnTx/>
                  <a:uFillTx/>
                  <a:latin typeface="+mj-lt"/>
                </a:defRPr>
              </a:lvl1pPr>
            </a:lstStyle>
            <a:p>
              <a:r>
                <a:rPr lang="de-DE" sz="1000" dirty="0"/>
                <a:t>Quelle: DIN 12100</a:t>
              </a:r>
            </a:p>
          </p:txBody>
        </p:sp>
      </p:grpSp>
    </p:spTree>
    <p:extLst>
      <p:ext uri="{BB962C8B-B14F-4D97-AF65-F5344CB8AC3E}">
        <p14:creationId xmlns:p14="http://schemas.microsoft.com/office/powerpoint/2010/main" val="103126164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3237F25-D98A-8CD8-5448-9BE9F9CB22F9}"/>
              </a:ext>
            </a:extLst>
          </p:cNvPr>
          <p:cNvSpPr>
            <a:spLocks noGrp="1"/>
          </p:cNvSpPr>
          <p:nvPr>
            <p:ph idx="1"/>
          </p:nvPr>
        </p:nvSpPr>
        <p:spPr>
          <a:xfrm>
            <a:off x="624419" y="1200213"/>
            <a:ext cx="11203715" cy="4832352"/>
          </a:xfrm>
        </p:spPr>
        <p:txBody>
          <a:bodyPr/>
          <a:lstStyle/>
          <a:p>
            <a:pPr algn="just">
              <a:lnSpc>
                <a:spcPct val="107000"/>
              </a:lnSpc>
            </a:pPr>
            <a:r>
              <a:rPr lang="de-CH" sz="1800" dirty="0">
                <a:effectLst/>
                <a:latin typeface="Arial" panose="020B0604020202020204" pitchFamily="34" charset="0"/>
                <a:ea typeface="Arial" panose="020B0604020202020204" pitchFamily="34" charset="0"/>
                <a:cs typeface="Times New Roman" panose="02020603050405020304" pitchFamily="18" charset="0"/>
              </a:rPr>
              <a:t>Risiko: </a:t>
            </a:r>
            <a:r>
              <a:rPr lang="de-CH" sz="1800" dirty="0">
                <a:effectLst/>
                <a:latin typeface="+mj-lt"/>
                <a:ea typeface="Arial" panose="020B0604020202020204" pitchFamily="34" charset="0"/>
                <a:cs typeface="Times New Roman" panose="02020603050405020304" pitchFamily="18" charset="0"/>
              </a:rPr>
              <a:t>definiert sich aus dem Schadensausmaß eines Negativereignisses und der dazugehörigen Eintrittswahrscheinlichkeit nach folgender Formel </a:t>
            </a:r>
          </a:p>
          <a:p>
            <a:pPr algn="just">
              <a:lnSpc>
                <a:spcPct val="107000"/>
              </a:lnSpc>
              <a:spcBef>
                <a:spcPts val="600"/>
              </a:spcBef>
            </a:pPr>
            <a:r>
              <a:rPr lang="de-CH" sz="2000" b="1" dirty="0">
                <a:effectLst/>
                <a:latin typeface="+mj-lt"/>
                <a:ea typeface="Arial" panose="020B0604020202020204" pitchFamily="34" charset="0"/>
                <a:cs typeface="Cambria Math" panose="02040503050406030204" pitchFamily="18" charset="0"/>
              </a:rPr>
              <a:t>𝑅𝑖𝑠𝑖𝑘𝑜 = 𝐸𝑖𝑛𝑡𝑟𝑖𝑡𝑡𝑠𝑤𝑎ℎ𝑟𝑠𝑐ℎ𝑒𝑖𝑛𝑙𝑖𝑐ℎ𝑘𝑒𝑖𝑡 𝑥 𝑆𝑐ℎ𝑎𝑑𝑒𝑛𝑠𝑎𝑢𝑠𝑚𝑎ß </a:t>
            </a:r>
          </a:p>
          <a:p>
            <a:pPr marL="285750" indent="-285750" algn="just">
              <a:lnSpc>
                <a:spcPct val="107000"/>
              </a:lnSpc>
              <a:spcAft>
                <a:spcPts val="300"/>
              </a:spcAft>
              <a:buFont typeface="Arial" panose="020B0604020202020204" pitchFamily="34" charset="0"/>
              <a:buChar char="•"/>
            </a:pPr>
            <a:r>
              <a:rPr lang="de-CH" sz="1800" b="1" dirty="0">
                <a:effectLst/>
                <a:latin typeface="+mj-lt"/>
                <a:ea typeface="Arial" panose="020B0604020202020204" pitchFamily="34" charset="0"/>
                <a:cs typeface="Times New Roman" panose="02020603050405020304" pitchFamily="18" charset="0"/>
              </a:rPr>
              <a:t>Eintrittswahrscheinlichkeit </a:t>
            </a:r>
            <a:r>
              <a:rPr lang="de-CH" sz="1800" dirty="0">
                <a:effectLst/>
                <a:latin typeface="+mj-lt"/>
                <a:ea typeface="Arial" panose="020B0604020202020204" pitchFamily="34" charset="0"/>
                <a:cs typeface="Times New Roman" panose="02020603050405020304" pitchFamily="18" charset="0"/>
              </a:rPr>
              <a:t>beschreibt</a:t>
            </a:r>
            <a:r>
              <a:rPr lang="de-CH" sz="1800" b="1" dirty="0">
                <a:effectLst/>
                <a:latin typeface="+mj-lt"/>
                <a:ea typeface="Arial" panose="020B0604020202020204" pitchFamily="34" charset="0"/>
                <a:cs typeface="Times New Roman" panose="02020603050405020304" pitchFamily="18" charset="0"/>
              </a:rPr>
              <a:t> </a:t>
            </a:r>
            <a:r>
              <a:rPr lang="de-CH" sz="1800" dirty="0">
                <a:effectLst/>
                <a:latin typeface="+mj-lt"/>
                <a:ea typeface="Arial" panose="020B0604020202020204" pitchFamily="34" charset="0"/>
                <a:cs typeface="Times New Roman" panose="02020603050405020304" pitchFamily="18" charset="0"/>
              </a:rPr>
              <a:t>die Häufigkeit eines auftretenden Szenarios. </a:t>
            </a:r>
          </a:p>
          <a:p>
            <a:pPr marL="285750" indent="-285750" algn="just">
              <a:lnSpc>
                <a:spcPct val="107000"/>
              </a:lnSpc>
              <a:spcBef>
                <a:spcPts val="300"/>
              </a:spcBef>
              <a:spcAft>
                <a:spcPts val="300"/>
              </a:spcAft>
              <a:buFont typeface="Arial" panose="020B0604020202020204" pitchFamily="34" charset="0"/>
              <a:buChar char="•"/>
            </a:pPr>
            <a:r>
              <a:rPr lang="de-CH" sz="1800" b="1" dirty="0">
                <a:effectLst/>
                <a:latin typeface="+mj-lt"/>
                <a:ea typeface="Arial" panose="020B0604020202020204" pitchFamily="34" charset="0"/>
                <a:cs typeface="Times New Roman" panose="02020603050405020304" pitchFamily="18" charset="0"/>
              </a:rPr>
              <a:t>Risiko</a:t>
            </a:r>
            <a:r>
              <a:rPr lang="de-CH" sz="1800" dirty="0">
                <a:effectLst/>
                <a:latin typeface="+mj-lt"/>
                <a:ea typeface="Arial" panose="020B0604020202020204" pitchFamily="34" charset="0"/>
                <a:cs typeface="Times New Roman" panose="02020603050405020304" pitchFamily="18" charset="0"/>
              </a:rPr>
              <a:t> lässt sich durch die Minderungen des Schadenausmaßes und durch die zu erwartende Häufigkeit minimieren. </a:t>
            </a:r>
          </a:p>
          <a:p>
            <a:pPr algn="just">
              <a:lnSpc>
                <a:spcPct val="107000"/>
              </a:lnSpc>
              <a:spcAft>
                <a:spcPts val="300"/>
              </a:spcAft>
            </a:pPr>
            <a:r>
              <a:rPr lang="de-CH" sz="1800" dirty="0">
                <a:effectLst/>
                <a:latin typeface="+mj-lt"/>
                <a:ea typeface="Arial" panose="020B0604020202020204" pitchFamily="34" charset="0"/>
                <a:cs typeface="Times New Roman" panose="02020603050405020304" pitchFamily="18" charset="0"/>
              </a:rPr>
              <a:t>Gefährdung: </a:t>
            </a:r>
          </a:p>
          <a:p>
            <a:pPr marL="285750" indent="-285750" algn="just">
              <a:lnSpc>
                <a:spcPct val="107000"/>
              </a:lnSpc>
              <a:spcBef>
                <a:spcPts val="600"/>
              </a:spcBef>
              <a:spcAft>
                <a:spcPts val="300"/>
              </a:spcAft>
              <a:buFont typeface="Arial" panose="020B0604020202020204" pitchFamily="34" charset="0"/>
              <a:buChar char="•"/>
            </a:pPr>
            <a:r>
              <a:rPr lang="de-CH" sz="1800" dirty="0">
                <a:effectLst/>
                <a:latin typeface="+mj-lt"/>
                <a:ea typeface="Arial" panose="020B0604020202020204" pitchFamily="34" charset="0"/>
                <a:cs typeface="Times New Roman" panose="02020603050405020304" pitchFamily="18" charset="0"/>
              </a:rPr>
              <a:t>Die DIN EN ISO 12100 definiert den Begriff </a:t>
            </a:r>
            <a:r>
              <a:rPr lang="de-CH" sz="1800" b="1" dirty="0">
                <a:effectLst/>
                <a:latin typeface="+mj-lt"/>
                <a:ea typeface="Arial" panose="020B0604020202020204" pitchFamily="34" charset="0"/>
                <a:cs typeface="Times New Roman" panose="02020603050405020304" pitchFamily="18" charset="0"/>
              </a:rPr>
              <a:t>Gefährdung </a:t>
            </a:r>
            <a:r>
              <a:rPr lang="de-CH" sz="1800" dirty="0">
                <a:effectLst/>
                <a:latin typeface="+mj-lt"/>
                <a:ea typeface="Arial" panose="020B0604020202020204" pitchFamily="34" charset="0"/>
                <a:cs typeface="Times New Roman" panose="02020603050405020304" pitchFamily="18" charset="0"/>
              </a:rPr>
              <a:t>als potenzielle Schadensquelle einer Anlage. </a:t>
            </a:r>
          </a:p>
          <a:p>
            <a:pPr marL="285750" indent="-285750" algn="just">
              <a:lnSpc>
                <a:spcPct val="107000"/>
              </a:lnSpc>
              <a:spcBef>
                <a:spcPts val="600"/>
              </a:spcBef>
              <a:spcAft>
                <a:spcPts val="300"/>
              </a:spcAft>
              <a:buFont typeface="Arial" panose="020B0604020202020204" pitchFamily="34" charset="0"/>
              <a:buChar char="•"/>
            </a:pPr>
            <a:r>
              <a:rPr lang="de-CH" sz="1800" dirty="0">
                <a:effectLst/>
                <a:latin typeface="+mj-lt"/>
                <a:ea typeface="Arial" panose="020B0604020202020204" pitchFamily="34" charset="0"/>
                <a:cs typeface="Times New Roman" panose="02020603050405020304" pitchFamily="18" charset="0"/>
              </a:rPr>
              <a:t>Zu diesen zählen vorhersehbare und unvorhersehbare Gefährdungen für den Anlagenbediener im Rahmen der angedachten Aufgabe. </a:t>
            </a:r>
          </a:p>
          <a:p>
            <a:pPr marL="285750" indent="-285750" algn="just">
              <a:lnSpc>
                <a:spcPct val="107000"/>
              </a:lnSpc>
              <a:spcBef>
                <a:spcPts val="600"/>
              </a:spcBef>
              <a:spcAft>
                <a:spcPts val="300"/>
              </a:spcAft>
              <a:buFont typeface="Arial" panose="020B0604020202020204" pitchFamily="34" charset="0"/>
              <a:buChar char="•"/>
            </a:pPr>
            <a:r>
              <a:rPr lang="de-CH" sz="1800" dirty="0">
                <a:effectLst/>
                <a:latin typeface="+mj-lt"/>
                <a:ea typeface="Arial" panose="020B0604020202020204" pitchFamily="34" charset="0"/>
                <a:cs typeface="Times New Roman" panose="02020603050405020304" pitchFamily="18" charset="0"/>
              </a:rPr>
              <a:t>Diese </a:t>
            </a:r>
            <a:r>
              <a:rPr lang="de-CH" sz="1800" b="1" dirty="0">
                <a:effectLst/>
                <a:latin typeface="+mj-lt"/>
                <a:ea typeface="Arial" panose="020B0604020202020204" pitchFamily="34" charset="0"/>
                <a:cs typeface="Times New Roman" panose="02020603050405020304" pitchFamily="18" charset="0"/>
              </a:rPr>
              <a:t>Gefährdungen</a:t>
            </a:r>
            <a:r>
              <a:rPr lang="de-CH" sz="1800" i="1" dirty="0">
                <a:effectLst/>
                <a:latin typeface="+mj-lt"/>
                <a:ea typeface="Arial" panose="020B0604020202020204" pitchFamily="34" charset="0"/>
                <a:cs typeface="Times New Roman" panose="02020603050405020304" pitchFamily="18" charset="0"/>
              </a:rPr>
              <a:t> </a:t>
            </a:r>
            <a:r>
              <a:rPr lang="de-CH" sz="1800" dirty="0">
                <a:effectLst/>
                <a:latin typeface="+mj-lt"/>
                <a:ea typeface="Arial" panose="020B0604020202020204" pitchFamily="34" charset="0"/>
                <a:cs typeface="Times New Roman" panose="02020603050405020304" pitchFamily="18" charset="0"/>
              </a:rPr>
              <a:t>gilt es hinsichtlich ihres </a:t>
            </a:r>
            <a:r>
              <a:rPr lang="de-CH" sz="1800" i="1" dirty="0">
                <a:effectLst/>
                <a:latin typeface="+mj-lt"/>
                <a:ea typeface="Arial" panose="020B0604020202020204" pitchFamily="34" charset="0"/>
                <a:cs typeface="Times New Roman" panose="02020603050405020304" pitchFamily="18" charset="0"/>
              </a:rPr>
              <a:t>Risikos </a:t>
            </a:r>
            <a:r>
              <a:rPr lang="de-CH" sz="1800" dirty="0">
                <a:effectLst/>
                <a:latin typeface="+mj-lt"/>
                <a:ea typeface="Arial" panose="020B0604020202020204" pitchFamily="34" charset="0"/>
                <a:cs typeface="Times New Roman" panose="02020603050405020304" pitchFamily="18" charset="0"/>
              </a:rPr>
              <a:t>zu bewerten und diese entsprechend in der Anlagenplanung zu minimieren. </a:t>
            </a:r>
            <a:endParaRPr lang="de-CH" sz="1800" dirty="0">
              <a:effectLst/>
              <a:latin typeface="Arial" panose="020B0604020202020204" pitchFamily="34" charset="0"/>
              <a:ea typeface="Arial" panose="020B0604020202020204" pitchFamily="34" charset="0"/>
              <a:cs typeface="Times New Roman" panose="02020603050405020304" pitchFamily="18" charset="0"/>
            </a:endParaRPr>
          </a:p>
          <a:p>
            <a:pPr algn="just">
              <a:lnSpc>
                <a:spcPct val="107000"/>
              </a:lnSpc>
              <a:spcAft>
                <a:spcPts val="300"/>
              </a:spcAft>
            </a:pPr>
            <a:endParaRPr lang="de-CH" sz="1800" dirty="0">
              <a:effectLst/>
              <a:latin typeface="Arial" panose="020B0604020202020204" pitchFamily="34" charset="0"/>
              <a:ea typeface="Arial" panose="020B0604020202020204" pitchFamily="34" charset="0"/>
              <a:cs typeface="Times New Roman" panose="02020603050405020304" pitchFamily="18" charset="0"/>
            </a:endParaRPr>
          </a:p>
          <a:p>
            <a:endParaRPr lang="de-CH" dirty="0"/>
          </a:p>
        </p:txBody>
      </p:sp>
      <p:sp>
        <p:nvSpPr>
          <p:cNvPr id="3" name="Titel 2">
            <a:extLst>
              <a:ext uri="{FF2B5EF4-FFF2-40B4-BE49-F238E27FC236}">
                <a16:creationId xmlns:a16="http://schemas.microsoft.com/office/drawing/2014/main" id="{26C6F50E-F0BC-0BF3-917C-272F5986C3C4}"/>
              </a:ext>
            </a:extLst>
          </p:cNvPr>
          <p:cNvSpPr>
            <a:spLocks noGrp="1"/>
          </p:cNvSpPr>
          <p:nvPr>
            <p:ph type="title"/>
          </p:nvPr>
        </p:nvSpPr>
        <p:spPr/>
        <p:txBody>
          <a:bodyPr>
            <a:normAutofit fontScale="90000"/>
          </a:bodyPr>
          <a:lstStyle/>
          <a:p>
            <a:r>
              <a:rPr lang="de-CH" dirty="0"/>
              <a:t>Risiko</a:t>
            </a:r>
          </a:p>
        </p:txBody>
      </p:sp>
      <p:sp>
        <p:nvSpPr>
          <p:cNvPr id="4" name="Fußzeilenplatzhalter 3">
            <a:extLst>
              <a:ext uri="{FF2B5EF4-FFF2-40B4-BE49-F238E27FC236}">
                <a16:creationId xmlns:a16="http://schemas.microsoft.com/office/drawing/2014/main" id="{68F371A2-5C4F-A34F-892A-145E5A1B4E97}"/>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A3D707C1-09B0-3AC9-BDBC-5C0AC2B8C79B}"/>
              </a:ext>
            </a:extLst>
          </p:cNvPr>
          <p:cNvSpPr>
            <a:spLocks noGrp="1"/>
          </p:cNvSpPr>
          <p:nvPr>
            <p:ph type="sldNum" sz="quarter" idx="16"/>
          </p:nvPr>
        </p:nvSpPr>
        <p:spPr/>
        <p:txBody>
          <a:bodyPr/>
          <a:lstStyle/>
          <a:p>
            <a:fld id="{61F2C2C2-1EE4-4D60-B09F-2141F977BFAA}" type="slidenum">
              <a:rPr lang="de-DE" altLang="de-DE" smtClean="0"/>
              <a:pPr/>
              <a:t>8</a:t>
            </a:fld>
            <a:endParaRPr lang="de-DE" altLang="de-DE"/>
          </a:p>
        </p:txBody>
      </p:sp>
    </p:spTree>
    <p:extLst>
      <p:ext uri="{BB962C8B-B14F-4D97-AF65-F5344CB8AC3E}">
        <p14:creationId xmlns:p14="http://schemas.microsoft.com/office/powerpoint/2010/main" val="3635348943"/>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3E25F7-D9E7-98B6-E215-CBF62A0650A2}"/>
              </a:ext>
            </a:extLst>
          </p:cNvPr>
          <p:cNvSpPr>
            <a:spLocks noGrp="1"/>
          </p:cNvSpPr>
          <p:nvPr>
            <p:ph idx="1"/>
          </p:nvPr>
        </p:nvSpPr>
        <p:spPr>
          <a:xfrm>
            <a:off x="624418" y="1012824"/>
            <a:ext cx="11498451" cy="4832352"/>
          </a:xfrm>
        </p:spPr>
        <p:txBody>
          <a:bodyPr/>
          <a:lstStyle/>
          <a:p>
            <a:pPr marL="285750" indent="-285750">
              <a:spcBef>
                <a:spcPts val="300"/>
              </a:spcBef>
              <a:spcAft>
                <a:spcPts val="600"/>
              </a:spcAft>
              <a:buFont typeface="Wingdings" panose="05000000000000000000" pitchFamily="2" charset="2"/>
              <a:buChar char="§"/>
            </a:pPr>
            <a:r>
              <a:rPr lang="de-CH" sz="1800" b="1" dirty="0">
                <a:effectLst/>
                <a:latin typeface="Arial" panose="020B0604020202020204" pitchFamily="34" charset="0"/>
                <a:ea typeface="Arial" panose="020B0604020202020204" pitchFamily="34" charset="0"/>
                <a:cs typeface="Times New Roman" panose="02020603050405020304" pitchFamily="18" charset="0"/>
              </a:rPr>
              <a:t>Beim Konstruieren einer Maschine </a:t>
            </a:r>
            <a:r>
              <a:rPr lang="de-CH" sz="1800" dirty="0">
                <a:effectLst/>
                <a:latin typeface="Arial" panose="020B0604020202020204" pitchFamily="34" charset="0"/>
                <a:ea typeface="Arial" panose="020B0604020202020204" pitchFamily="34" charset="0"/>
                <a:cs typeface="Times New Roman" panose="02020603050405020304" pitchFamily="18" charset="0"/>
              </a:rPr>
              <a:t>müssen die </a:t>
            </a:r>
            <a:r>
              <a:rPr lang="de-CH" sz="1800" b="1" dirty="0">
                <a:effectLst/>
                <a:latin typeface="Arial" panose="020B0604020202020204" pitchFamily="34" charset="0"/>
                <a:ea typeface="Arial" panose="020B0604020202020204" pitchFamily="34" charset="0"/>
                <a:cs typeface="Times New Roman" panose="02020603050405020304" pitchFamily="18" charset="0"/>
              </a:rPr>
              <a:t>möglichen Risiken beurteilt </a:t>
            </a:r>
            <a:r>
              <a:rPr lang="de-CH" sz="1800" dirty="0">
                <a:effectLst/>
                <a:latin typeface="Arial" panose="020B0604020202020204" pitchFamily="34" charset="0"/>
                <a:ea typeface="Arial" panose="020B0604020202020204" pitchFamily="34" charset="0"/>
                <a:cs typeface="Times New Roman" panose="02020603050405020304" pitchFamily="18" charset="0"/>
              </a:rPr>
              <a:t>und, wenn nötig, </a:t>
            </a:r>
            <a:r>
              <a:rPr lang="de-CH" sz="1800" b="1" dirty="0">
                <a:effectLst/>
                <a:latin typeface="Arial" panose="020B0604020202020204" pitchFamily="34" charset="0"/>
                <a:ea typeface="Arial" panose="020B0604020202020204" pitchFamily="34" charset="0"/>
                <a:cs typeface="Times New Roman" panose="02020603050405020304" pitchFamily="18" charset="0"/>
              </a:rPr>
              <a:t>Maßnahmen vorgesehen werden</a:t>
            </a:r>
            <a:r>
              <a:rPr lang="de-CH" sz="1800" dirty="0">
                <a:effectLst/>
                <a:latin typeface="Arial" panose="020B0604020202020204" pitchFamily="34" charset="0"/>
                <a:ea typeface="Arial" panose="020B0604020202020204" pitchFamily="34" charset="0"/>
                <a:cs typeface="Times New Roman" panose="02020603050405020304" pitchFamily="18" charset="0"/>
              </a:rPr>
              <a:t>, um den </a:t>
            </a:r>
            <a:r>
              <a:rPr lang="de-CH" sz="1800" b="1" dirty="0">
                <a:effectLst/>
                <a:latin typeface="Arial" panose="020B0604020202020204" pitchFamily="34" charset="0"/>
                <a:ea typeface="Arial" panose="020B0604020202020204" pitchFamily="34" charset="0"/>
                <a:cs typeface="Times New Roman" panose="02020603050405020304" pitchFamily="18" charset="0"/>
              </a:rPr>
              <a:t>Bediener vor bestehenden Gefährdungen </a:t>
            </a:r>
            <a:r>
              <a:rPr lang="de-CH" sz="1800" dirty="0">
                <a:effectLst/>
                <a:latin typeface="Arial" panose="020B0604020202020204" pitchFamily="34" charset="0"/>
                <a:ea typeface="Arial" panose="020B0604020202020204" pitchFamily="34" charset="0"/>
                <a:cs typeface="Times New Roman" panose="02020603050405020304" pitchFamily="18" charset="0"/>
              </a:rPr>
              <a:t>zu schützen. </a:t>
            </a:r>
          </a:p>
          <a:p>
            <a:pPr marL="285750" indent="-285750">
              <a:spcBef>
                <a:spcPts val="300"/>
              </a:spcBef>
              <a:spcAft>
                <a:spcPts val="600"/>
              </a:spcAft>
              <a:buFont typeface="Wingdings" panose="05000000000000000000" pitchFamily="2" charset="2"/>
              <a:buChar char="§"/>
            </a:pPr>
            <a:r>
              <a:rPr lang="de-CH" sz="1800" dirty="0">
                <a:effectLst/>
                <a:latin typeface="Arial" panose="020B0604020202020204" pitchFamily="34" charset="0"/>
                <a:ea typeface="Arial" panose="020B0604020202020204" pitchFamily="34" charset="0"/>
                <a:cs typeface="Times New Roman" panose="02020603050405020304" pitchFamily="18" charset="0"/>
              </a:rPr>
              <a:t>Um dem </a:t>
            </a:r>
            <a:r>
              <a:rPr lang="de-CH" sz="1800" b="1" dirty="0">
                <a:effectLst/>
                <a:latin typeface="Arial" panose="020B0604020202020204" pitchFamily="34" charset="0"/>
                <a:ea typeface="Arial" panose="020B0604020202020204" pitchFamily="34" charset="0"/>
                <a:cs typeface="Times New Roman" panose="02020603050405020304" pitchFamily="18" charset="0"/>
              </a:rPr>
              <a:t>Maschinenhersteller eine Hilfestellung bei dieser Aufgabe zu geben</a:t>
            </a:r>
            <a:r>
              <a:rPr lang="de-CH" sz="1800" dirty="0">
                <a:effectLst/>
                <a:latin typeface="Arial" panose="020B0604020202020204" pitchFamily="34" charset="0"/>
                <a:ea typeface="Arial" panose="020B0604020202020204" pitchFamily="34" charset="0"/>
                <a:cs typeface="Times New Roman" panose="02020603050405020304" pitchFamily="18" charset="0"/>
              </a:rPr>
              <a:t>, definieren und beschreiben die </a:t>
            </a:r>
            <a:r>
              <a:rPr lang="de-CH" sz="1800" b="1" dirty="0">
                <a:effectLst/>
                <a:latin typeface="Arial" panose="020B0604020202020204" pitchFamily="34" charset="0"/>
                <a:ea typeface="Arial" panose="020B0604020202020204" pitchFamily="34" charset="0"/>
                <a:cs typeface="Times New Roman" panose="02020603050405020304" pitchFamily="18" charset="0"/>
              </a:rPr>
              <a:t>Normen</a:t>
            </a:r>
            <a:r>
              <a:rPr lang="de-CH" sz="1800" dirty="0">
                <a:effectLst/>
                <a:latin typeface="Arial" panose="020B0604020202020204" pitchFamily="34" charset="0"/>
                <a:ea typeface="Arial" panose="020B0604020202020204" pitchFamily="34" charset="0"/>
                <a:cs typeface="Times New Roman" panose="02020603050405020304" pitchFamily="18" charset="0"/>
              </a:rPr>
              <a:t> den Prozess der Risikobeurteilung. </a:t>
            </a:r>
          </a:p>
          <a:p>
            <a:pPr marL="285750" indent="-285750">
              <a:spcBef>
                <a:spcPts val="300"/>
              </a:spcBef>
              <a:spcAft>
                <a:spcPts val="600"/>
              </a:spcAft>
              <a:buFont typeface="Wingdings" panose="05000000000000000000" pitchFamily="2" charset="2"/>
              <a:buChar char="§"/>
            </a:pPr>
            <a:r>
              <a:rPr lang="de-CH" sz="1800" dirty="0">
                <a:effectLst/>
                <a:latin typeface="Arial" panose="020B0604020202020204" pitchFamily="34" charset="0"/>
                <a:ea typeface="Arial" panose="020B0604020202020204" pitchFamily="34" charset="0"/>
                <a:cs typeface="Times New Roman" panose="02020603050405020304" pitchFamily="18" charset="0"/>
              </a:rPr>
              <a:t>Eine </a:t>
            </a:r>
            <a:r>
              <a:rPr lang="de-CH" sz="1800" b="1" dirty="0">
                <a:effectLst/>
                <a:latin typeface="Arial" panose="020B0604020202020204" pitchFamily="34" charset="0"/>
                <a:ea typeface="Arial" panose="020B0604020202020204" pitchFamily="34" charset="0"/>
                <a:cs typeface="Times New Roman" panose="02020603050405020304" pitchFamily="18" charset="0"/>
              </a:rPr>
              <a:t>Risikobeurteilung</a:t>
            </a:r>
            <a:r>
              <a:rPr lang="de-CH" sz="1800" dirty="0">
                <a:effectLst/>
                <a:latin typeface="Arial" panose="020B0604020202020204" pitchFamily="34" charset="0"/>
                <a:ea typeface="Arial" panose="020B0604020202020204" pitchFamily="34" charset="0"/>
                <a:cs typeface="Times New Roman" panose="02020603050405020304" pitchFamily="18" charset="0"/>
              </a:rPr>
              <a:t> ist eine Folge von logischen Schritten, die die systematische Analyse und Bewertung von Risiken erlauben. Sie soll dabei helfen, Risiken zu reduzieren oder zu vermeiden. </a:t>
            </a:r>
          </a:p>
          <a:p>
            <a:pPr marL="285750" indent="-285750">
              <a:spcBef>
                <a:spcPts val="300"/>
              </a:spcBef>
              <a:spcAft>
                <a:spcPts val="600"/>
              </a:spcAft>
              <a:buFont typeface="Wingdings" panose="05000000000000000000" pitchFamily="2" charset="2"/>
              <a:buChar char="§"/>
            </a:pPr>
            <a:r>
              <a:rPr lang="de-CH" sz="1800" dirty="0">
                <a:effectLst/>
                <a:latin typeface="Arial" panose="020B0604020202020204" pitchFamily="34" charset="0"/>
                <a:ea typeface="Arial" panose="020B0604020202020204" pitchFamily="34" charset="0"/>
                <a:cs typeface="Times New Roman" panose="02020603050405020304" pitchFamily="18" charset="0"/>
              </a:rPr>
              <a:t>Als Folge können sich </a:t>
            </a:r>
            <a:r>
              <a:rPr lang="de-CH" sz="1800" b="1" dirty="0">
                <a:effectLst/>
                <a:latin typeface="Arial" panose="020B0604020202020204" pitchFamily="34" charset="0"/>
                <a:ea typeface="Arial" panose="020B0604020202020204" pitchFamily="34" charset="0"/>
                <a:cs typeface="Times New Roman" panose="02020603050405020304" pitchFamily="18" charset="0"/>
              </a:rPr>
              <a:t>notwendige Maßnahmen </a:t>
            </a:r>
            <a:r>
              <a:rPr lang="de-CH" sz="1800" dirty="0">
                <a:effectLst/>
                <a:latin typeface="Arial" panose="020B0604020202020204" pitchFamily="34" charset="0"/>
                <a:ea typeface="Arial" panose="020B0604020202020204" pitchFamily="34" charset="0"/>
                <a:cs typeface="Times New Roman" panose="02020603050405020304" pitchFamily="18" charset="0"/>
              </a:rPr>
              <a:t>ergeben, um den Bediener vor Gefährdungen zu schützen.</a:t>
            </a:r>
          </a:p>
          <a:p>
            <a:pPr marL="285750" indent="-285750">
              <a:spcBef>
                <a:spcPts val="300"/>
              </a:spcBef>
              <a:spcAft>
                <a:spcPts val="600"/>
              </a:spcAft>
              <a:buFont typeface="Wingdings" panose="05000000000000000000" pitchFamily="2" charset="2"/>
              <a:buChar char="§"/>
            </a:pPr>
            <a:r>
              <a:rPr lang="de-CH" sz="1800" dirty="0">
                <a:effectLst/>
                <a:latin typeface="Arial" panose="020B0604020202020204" pitchFamily="34" charset="0"/>
                <a:ea typeface="Arial" panose="020B0604020202020204" pitchFamily="34" charset="0"/>
                <a:cs typeface="Times New Roman" panose="02020603050405020304" pitchFamily="18" charset="0"/>
              </a:rPr>
              <a:t>Im </a:t>
            </a:r>
            <a:r>
              <a:rPr lang="de-CH" sz="1800" b="1" dirty="0">
                <a:effectLst/>
                <a:latin typeface="Arial" panose="020B0604020202020204" pitchFamily="34" charset="0"/>
                <a:ea typeface="Arial" panose="020B0604020202020204" pitchFamily="34" charset="0"/>
                <a:cs typeface="Times New Roman" panose="02020603050405020304" pitchFamily="18" charset="0"/>
              </a:rPr>
              <a:t>ersten Prozessschritt </a:t>
            </a:r>
            <a:r>
              <a:rPr lang="de-CH" sz="1800" dirty="0">
                <a:effectLst/>
                <a:latin typeface="Arial" panose="020B0604020202020204" pitchFamily="34" charset="0"/>
                <a:ea typeface="Arial" panose="020B0604020202020204" pitchFamily="34" charset="0"/>
                <a:cs typeface="Times New Roman" panose="02020603050405020304" pitchFamily="18" charset="0"/>
              </a:rPr>
              <a:t>sollen </a:t>
            </a:r>
            <a:r>
              <a:rPr lang="de-CH" sz="1800" b="1" dirty="0">
                <a:effectLst/>
                <a:latin typeface="Arial" panose="020B0604020202020204" pitchFamily="34" charset="0"/>
                <a:ea typeface="Arial" panose="020B0604020202020204" pitchFamily="34" charset="0"/>
                <a:cs typeface="Times New Roman" panose="02020603050405020304" pitchFamily="18" charset="0"/>
              </a:rPr>
              <a:t>Gefährdungen erkannt und eingeschätzt </a:t>
            </a:r>
            <a:r>
              <a:rPr lang="de-CH" sz="1800" dirty="0">
                <a:effectLst/>
                <a:latin typeface="Arial" panose="020B0604020202020204" pitchFamily="34" charset="0"/>
                <a:ea typeface="Arial" panose="020B0604020202020204" pitchFamily="34" charset="0"/>
                <a:cs typeface="Times New Roman" panose="02020603050405020304" pitchFamily="18" charset="0"/>
              </a:rPr>
              <a:t>werden. </a:t>
            </a:r>
          </a:p>
          <a:p>
            <a:pPr marL="285750" indent="-285750">
              <a:spcBef>
                <a:spcPts val="300"/>
              </a:spcBef>
              <a:spcAft>
                <a:spcPts val="600"/>
              </a:spcAft>
              <a:buFont typeface="Wingdings" panose="05000000000000000000" pitchFamily="2" charset="2"/>
              <a:buChar char="§"/>
            </a:pPr>
            <a:r>
              <a:rPr lang="de-CH" sz="1800" dirty="0">
                <a:effectLst/>
                <a:latin typeface="Arial" panose="020B0604020202020204" pitchFamily="34" charset="0"/>
                <a:ea typeface="Arial" panose="020B0604020202020204" pitchFamily="34" charset="0"/>
                <a:cs typeface="Times New Roman" panose="02020603050405020304" pitchFamily="18" charset="0"/>
              </a:rPr>
              <a:t>Darauf folgt die </a:t>
            </a:r>
            <a:r>
              <a:rPr lang="de-CH" sz="1800" b="1" dirty="0">
                <a:effectLst/>
                <a:latin typeface="Arial" panose="020B0604020202020204" pitchFamily="34" charset="0"/>
                <a:ea typeface="Arial" panose="020B0604020202020204" pitchFamily="34" charset="0"/>
                <a:cs typeface="Times New Roman" panose="02020603050405020304" pitchFamily="18" charset="0"/>
              </a:rPr>
              <a:t>Bewertung</a:t>
            </a:r>
            <a:r>
              <a:rPr lang="de-CH" sz="1800" dirty="0">
                <a:effectLst/>
                <a:latin typeface="Arial" panose="020B0604020202020204" pitchFamily="34" charset="0"/>
                <a:ea typeface="Arial" panose="020B0604020202020204" pitchFamily="34" charset="0"/>
                <a:cs typeface="Times New Roman" panose="02020603050405020304" pitchFamily="18" charset="0"/>
              </a:rPr>
              <a:t> und, wenn </a:t>
            </a:r>
            <a:r>
              <a:rPr lang="de-CH" sz="1800" b="1" dirty="0">
                <a:effectLst/>
                <a:latin typeface="Arial" panose="020B0604020202020204" pitchFamily="34" charset="0"/>
                <a:ea typeface="Arial" panose="020B0604020202020204" pitchFamily="34" charset="0"/>
                <a:cs typeface="Times New Roman" panose="02020603050405020304" pitchFamily="18" charset="0"/>
              </a:rPr>
              <a:t>erforderlich, die Risikominderung</a:t>
            </a:r>
            <a:r>
              <a:rPr lang="de-CH" sz="1800" dirty="0">
                <a:effectLst/>
                <a:latin typeface="Arial" panose="020B0604020202020204" pitchFamily="34" charset="0"/>
                <a:ea typeface="Arial" panose="020B0604020202020204" pitchFamily="34" charset="0"/>
                <a:cs typeface="Times New Roman" panose="02020603050405020304" pitchFamily="18" charset="0"/>
              </a:rPr>
              <a:t>. </a:t>
            </a:r>
          </a:p>
          <a:p>
            <a:pPr marL="285750" indent="-285750">
              <a:spcBef>
                <a:spcPts val="300"/>
              </a:spcBef>
              <a:spcAft>
                <a:spcPts val="600"/>
              </a:spcAft>
              <a:buFont typeface="Wingdings" panose="05000000000000000000" pitchFamily="2"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r </a:t>
            </a:r>
            <a:r>
              <a:rPr lang="de-CH" sz="1800" b="1"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Prozess muss für alle Gefährdungen durchgeführt </a:t>
            </a: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werden. </a:t>
            </a:r>
          </a:p>
          <a:p>
            <a:pPr marL="285750" indent="-285750">
              <a:spcBef>
                <a:spcPts val="300"/>
              </a:spcBef>
              <a:spcAft>
                <a:spcPts val="600"/>
              </a:spcAft>
              <a:buFont typeface="Wingdings" panose="05000000000000000000" pitchFamily="2"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Er muss so lange wiederholt werden (</a:t>
            </a:r>
            <a:r>
              <a:rPr lang="de-CH" sz="1800" b="1"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iterativer Prozess</a:t>
            </a: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 bis das </a:t>
            </a:r>
            <a:r>
              <a:rPr lang="de-CH" sz="1800" b="1"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verbleibende Restrisiko annehmbar gering </a:t>
            </a: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ist.</a:t>
            </a:r>
          </a:p>
          <a:p>
            <a:pPr marL="285750" indent="-285750">
              <a:spcBef>
                <a:spcPts val="300"/>
              </a:spcBef>
              <a:spcAft>
                <a:spcPts val="600"/>
              </a:spcAft>
              <a:buFont typeface="Wingdings" panose="05000000000000000000" pitchFamily="2" charset="2"/>
              <a:buChar char="§"/>
            </a:pP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ie </a:t>
            </a:r>
            <a:r>
              <a:rPr lang="de-CH" sz="1800" b="1"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erreichten Ergebnisse </a:t>
            </a: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der Risikobeurteilung und das angewendete Verfahren </a:t>
            </a:r>
            <a:r>
              <a:rPr lang="de-CH" sz="1800" b="1"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sind zu dokumentieren</a:t>
            </a:r>
            <a:r>
              <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rPr>
              <a:t>.</a:t>
            </a:r>
          </a:p>
          <a:p>
            <a:pPr marL="285750" indent="-285750">
              <a:spcBef>
                <a:spcPts val="300"/>
              </a:spcBef>
              <a:spcAft>
                <a:spcPts val="600"/>
              </a:spcAft>
              <a:buFont typeface="Wingdings" panose="05000000000000000000" pitchFamily="2" charset="2"/>
              <a:buChar char="§"/>
            </a:pPr>
            <a:r>
              <a:rPr lang="de-CH" sz="1800" dirty="0">
                <a:effectLst/>
                <a:latin typeface="Arial" panose="020B0604020202020204" pitchFamily="34" charset="0"/>
                <a:ea typeface="Arial" panose="020B0604020202020204" pitchFamily="34" charset="0"/>
                <a:cs typeface="Times New Roman" panose="02020603050405020304" pitchFamily="18" charset="0"/>
              </a:rPr>
              <a:t>Die </a:t>
            </a:r>
            <a:r>
              <a:rPr lang="de-CH" sz="1800" b="1" dirty="0">
                <a:effectLst/>
                <a:latin typeface="Arial" panose="020B0604020202020204" pitchFamily="34" charset="0"/>
                <a:ea typeface="Arial" panose="020B0604020202020204" pitchFamily="34" charset="0"/>
                <a:cs typeface="Times New Roman" panose="02020603050405020304" pitchFamily="18" charset="0"/>
              </a:rPr>
              <a:t>Maschine muss unter Berücksichtigung der Ergebnisse </a:t>
            </a:r>
            <a:r>
              <a:rPr lang="de-CH" sz="1800" dirty="0">
                <a:effectLst/>
                <a:latin typeface="Arial" panose="020B0604020202020204" pitchFamily="34" charset="0"/>
                <a:ea typeface="Arial" panose="020B0604020202020204" pitchFamily="34" charset="0"/>
                <a:cs typeface="Times New Roman" panose="02020603050405020304" pitchFamily="18" charset="0"/>
              </a:rPr>
              <a:t>der Risikobeurteilung </a:t>
            </a:r>
            <a:r>
              <a:rPr lang="de-CH" sz="1800" b="1" dirty="0">
                <a:effectLst/>
                <a:latin typeface="Arial" panose="020B0604020202020204" pitchFamily="34" charset="0"/>
                <a:ea typeface="Arial" panose="020B0604020202020204" pitchFamily="34" charset="0"/>
                <a:cs typeface="Times New Roman" panose="02020603050405020304" pitchFamily="18" charset="0"/>
              </a:rPr>
              <a:t>konstruiert und gebaut</a:t>
            </a:r>
            <a:r>
              <a:rPr lang="de-CH" sz="1800" dirty="0">
                <a:effectLst/>
                <a:latin typeface="Arial" panose="020B0604020202020204" pitchFamily="34" charset="0"/>
                <a:ea typeface="Arial" panose="020B0604020202020204" pitchFamily="34" charset="0"/>
                <a:cs typeface="Times New Roman" panose="02020603050405020304" pitchFamily="18" charset="0"/>
              </a:rPr>
              <a:t> werden. </a:t>
            </a:r>
          </a:p>
          <a:p>
            <a:pPr marL="285750" indent="-285750">
              <a:spcBef>
                <a:spcPts val="300"/>
              </a:spcBef>
              <a:buFont typeface="Arial" panose="020B0604020202020204" pitchFamily="34" charset="0"/>
              <a:buChar char="•"/>
            </a:pPr>
            <a:endParaRPr lang="de-CH" sz="1800" dirty="0">
              <a:effectLst/>
              <a:uFill>
                <a:solidFill>
                  <a:srgbClr val="8C195F"/>
                </a:solidFill>
              </a:uFill>
              <a:latin typeface="Arial" panose="020B0604020202020204" pitchFamily="34" charset="0"/>
              <a:ea typeface="Arial" panose="020B0604020202020204" pitchFamily="34" charset="0"/>
              <a:cs typeface="Times New Roman" panose="02020603050405020304" pitchFamily="18" charset="0"/>
            </a:endParaRPr>
          </a:p>
          <a:p>
            <a:endParaRPr lang="de-CH" dirty="0"/>
          </a:p>
        </p:txBody>
      </p:sp>
      <p:sp>
        <p:nvSpPr>
          <p:cNvPr id="3" name="Titel 2">
            <a:extLst>
              <a:ext uri="{FF2B5EF4-FFF2-40B4-BE49-F238E27FC236}">
                <a16:creationId xmlns:a16="http://schemas.microsoft.com/office/drawing/2014/main" id="{7CFE2F17-B4B8-A1C7-09AA-868BA8C2A40A}"/>
              </a:ext>
            </a:extLst>
          </p:cNvPr>
          <p:cNvSpPr>
            <a:spLocks noGrp="1"/>
          </p:cNvSpPr>
          <p:nvPr>
            <p:ph type="title"/>
          </p:nvPr>
        </p:nvSpPr>
        <p:spPr/>
        <p:txBody>
          <a:bodyPr>
            <a:normAutofit fontScale="90000"/>
          </a:bodyPr>
          <a:lstStyle/>
          <a:p>
            <a:r>
              <a:rPr lang="de-CH" dirty="0"/>
              <a:t>Risikobeurteilung</a:t>
            </a:r>
          </a:p>
        </p:txBody>
      </p:sp>
      <p:sp>
        <p:nvSpPr>
          <p:cNvPr id="4" name="Fußzeilenplatzhalter 3">
            <a:extLst>
              <a:ext uri="{FF2B5EF4-FFF2-40B4-BE49-F238E27FC236}">
                <a16:creationId xmlns:a16="http://schemas.microsoft.com/office/drawing/2014/main" id="{2BB0CFDF-2F78-328D-78C4-43834437ED40}"/>
              </a:ext>
            </a:extLst>
          </p:cNvPr>
          <p:cNvSpPr>
            <a:spLocks noGrp="1"/>
          </p:cNvSpPr>
          <p:nvPr>
            <p:ph type="ftr" sz="quarter" idx="15"/>
          </p:nvPr>
        </p:nvSpPr>
        <p:spPr/>
        <p:txBody>
          <a:bodyPr/>
          <a:lstStyle/>
          <a:p>
            <a:pPr defTabSz="354707"/>
            <a:r>
              <a:rPr lang="de-DE"/>
              <a:t>Automation II</a:t>
            </a:r>
            <a:endParaRPr lang="de-DE" altLang="de-DE" dirty="0">
              <a:solidFill>
                <a:srgbClr val="D40032"/>
              </a:solidFill>
            </a:endParaRPr>
          </a:p>
        </p:txBody>
      </p:sp>
      <p:sp>
        <p:nvSpPr>
          <p:cNvPr id="5" name="Foliennummernplatzhalter 4">
            <a:extLst>
              <a:ext uri="{FF2B5EF4-FFF2-40B4-BE49-F238E27FC236}">
                <a16:creationId xmlns:a16="http://schemas.microsoft.com/office/drawing/2014/main" id="{3AEA4629-5172-6354-F29E-0E5F9CC458A5}"/>
              </a:ext>
            </a:extLst>
          </p:cNvPr>
          <p:cNvSpPr>
            <a:spLocks noGrp="1"/>
          </p:cNvSpPr>
          <p:nvPr>
            <p:ph type="sldNum" sz="quarter" idx="16"/>
          </p:nvPr>
        </p:nvSpPr>
        <p:spPr/>
        <p:txBody>
          <a:bodyPr/>
          <a:lstStyle/>
          <a:p>
            <a:fld id="{61F2C2C2-1EE4-4D60-B09F-2141F977BFAA}" type="slidenum">
              <a:rPr lang="de-DE" altLang="de-DE" smtClean="0"/>
              <a:pPr/>
              <a:t>9</a:t>
            </a:fld>
            <a:endParaRPr lang="de-DE" altLang="de-DE"/>
          </a:p>
        </p:txBody>
      </p:sp>
    </p:spTree>
    <p:extLst>
      <p:ext uri="{BB962C8B-B14F-4D97-AF65-F5344CB8AC3E}">
        <p14:creationId xmlns:p14="http://schemas.microsoft.com/office/powerpoint/2010/main" val="2511637383"/>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EE4P_AGENDAWIZARDSTYLE" val="WZL"/>
  <p:tag name="EE4P_STYLE" val="ZeMA"/>
  <p:tag name="EE4P_STYLE_ID" val="6cd991bf-f022-4378-96e7-2c338aeb3f5a"/>
  <p:tag name="EE4P_AGENDAWIZARD" val="&lt;ee4p&gt;&lt;layouts&gt;&lt;layout name=&quot;Box 1&quot; id=&quot;47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element field=&quot;itemno&quot; type=&quot;autoshape&quot; autoShapeType=&quot;1&quot; indent=&quot;36.50472&quot; indentType=&quot;1&quot;&gt;&lt;textframe marginLeft=&quot;6&quot; marginRight=&quot;6&quot; verticalAnchor=&quot;3&quot; /&gt;&lt;paragraphformat alignment=&quot;2&quot; /&gt;&lt;fill foreColor=&quot;5&quot; visible=&quot;1&quot; /&gt;&lt;font bold=&quot;1&quot; /&gt;&lt;/element&gt;&lt;element field=&quot;topic&quot; type=&quot;autoshape&quot; autoShapeType=&quot;1&quot; indent=&quot;36.50472&quot; indentType=&quot;2&quot;&gt;&lt;paragraphformat alignment=&quot;1&quot; /&gt;&lt;textframe marginLeft=&quot;6&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autoshape&quot; autoShapeType=&quot;1&quot; value=&quot;&quot;&gt;&lt;position left=&quot;36.50472*2*scale*fontScale&quot; top=&quot;0&quot; width=&quot;agendaWidth-topicLeftSpacing-itemNoWidth-36.50472*scale*fontScale&quot; height=&quot;itemHeight&quot; /&gt;&lt;fill foreColor=&quot;5&quot; visible=&quot;1&quot; /&gt;&lt;/element&gt;&lt;element field=&quot;itemno&quot; type=&quot;autoshape&quot; autoShapeType=&quot;1&quot; indent=&quot;36.50472&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6.50472&quot; indentType=&quot;2&quot;&gt;&lt;paragraphformat alignment=&quot;1&quot; /&gt;&lt;font bold=&quot;1&quot; /&gt;&lt;textframe marginLeft=&quot;6&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47_1&quot; fontSizeAuto=&quot;0&quot; createSections=&quot;0&quot; singleSlideId=&quot;6036f79d-8842-4d74-9630-889964df4c44&quot; backupSlideId=&quot;ab01168c-ae52-47a6-bda8-a984dd411c23&quot; hideSeparatingSlides=&quot;0&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154.877&quot; /&gt;&lt;column field=&quot;responsible&quot; label=&quot;Responsible&quot; visible=&quot;1&quot; checked=&quot;1&quot; leftSpacing=&quot;0&quot; rightDistribute=&quot;1&quot; dock=&quot;1&quot; rightSpacing=&quot;154.877&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id=&quot;649fd134-dbe6-4267-a1ea-696083cae59d&quot; parentId=&quot;&quot; level=&quot;1&quot; generateAgendaSlide=&quot;1&quot; showAgendaItem=&quot;1&quot; isBreak=&quot;0&quot; itemNo=&quot;1&quot; subItemNo=&quot;0&quot; topic=&quot;Automatisierte Steuerung von Fertigungssystemen&quot; agendaSlideId=&quot;8688daf9-4328-4aa8-b5ca-7d2203b85160&quot; /&gt;&lt;item duration=&quot;30&quot; id=&quot;bc83c9c2-7ed8-4c99-98ed-84308d18acf3&quot; parentId=&quot;&quot; level=&quot;1&quot; generateAgendaSlide=&quot;1&quot; showAgendaItem=&quot;1&quot; isBreak=&quot;0&quot; itemNo=&quot;2&quot; subItemNo=&quot;0&quot; topic=&quot;Hierarchien und Steuerungsarchitektur&quot; agendaSlideId=&quot;f9009249-400c-443b-bfd7-2d1134130dcc&quot; /&gt;&lt;item duration=&quot;30&quot; id=&quot;3cf6e7b1-cef0-4fac-a339-ac94a5b873e4&quot; parentId=&quot;&quot; level=&quot;1&quot; generateAgendaSlide=&quot;1&quot; showAgendaItem=&quot;1&quot; isBreak=&quot;0&quot; itemNo=&quot;3&quot; subItemNo=&quot;0&quot; topic=&quot;Vernetzung und Bussysteme&quot; agendaSlideId=&quot;e04dc700-fd0e-4c54-a650-27af844df4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2"/>
</p:tagLst>
</file>

<file path=ppt/tags/tag12.xml><?xml version="1.0" encoding="utf-8"?>
<p:tagLst xmlns:a="http://schemas.openxmlformats.org/drawingml/2006/main" xmlns:r="http://schemas.openxmlformats.org/officeDocument/2006/relationships" xmlns:p="http://schemas.openxmlformats.org/presentationml/2006/main">
  <p:tag name="POSITION" val="links_1_3_text"/>
</p:tagLst>
</file>

<file path=ppt/tags/tag13.xml><?xml version="1.0" encoding="utf-8"?>
<p:tagLst xmlns:a="http://schemas.openxmlformats.org/drawingml/2006/main" xmlns:r="http://schemas.openxmlformats.org/officeDocument/2006/relationships" xmlns:p="http://schemas.openxmlformats.org/presentationml/2006/main">
  <p:tag name="POSITION" val="leer"/>
</p:tagLst>
</file>

<file path=ppt/tags/tag14.xml><?xml version="1.0" encoding="utf-8"?>
<p:tagLst xmlns:a="http://schemas.openxmlformats.org/drawingml/2006/main" xmlns:r="http://schemas.openxmlformats.org/officeDocument/2006/relationships" xmlns:p="http://schemas.openxmlformats.org/presentationml/2006/main">
  <p:tag name="POSITION" val="leer"/>
</p:tagLst>
</file>

<file path=ppt/tags/tag15.xml><?xml version="1.0" encoding="utf-8"?>
<p:tagLst xmlns:a="http://schemas.openxmlformats.org/drawingml/2006/main" xmlns:r="http://schemas.openxmlformats.org/officeDocument/2006/relationships" xmlns:p="http://schemas.openxmlformats.org/presentationml/2006/main">
  <p:tag name="POSITION" val="links_1_3_text"/>
</p:tagLst>
</file>

<file path=ppt/tags/tag16.xml><?xml version="1.0" encoding="utf-8"?>
<p:tagLst xmlns:a="http://schemas.openxmlformats.org/drawingml/2006/main" xmlns:r="http://schemas.openxmlformats.org/officeDocument/2006/relationships" xmlns:p="http://schemas.openxmlformats.org/presentationml/2006/main">
  <p:tag name="POSITION" val="links_1_3_tex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a6.8YatmkKx6QGxwQas3w"/>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4hTPflqSEWZM50J5kNcGQ"/>
  <p:tag name="EE4P_TEMPLATESTYLE" val="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ZB4VkT.r0uZmy0ffuV3Fw"/>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NbLsi3Vi06lFKkHuIPrWQ"/>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NbLsi3Vi06lFKkHuIPrWQ"/>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c2Qf1mtU0yz8T24ozFPbg"/>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ZwjnXY9REqMb1uzv0B_qQ"/>
  <p:tag name="EE4P_TEMPLATESTYLE" val="14"/>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ZwjnXY9REqMb1uzv0B_qQ"/>
  <p:tag name="EE4P_TEMPLATESTYLE" val="1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ZwjnXY9REqMb1uzv0B_qQ"/>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2"/>
</p:tagLst>
</file>

<file path=ppt/tags/tag9.xml><?xml version="1.0" encoding="utf-8"?>
<p:tagLst xmlns:a="http://schemas.openxmlformats.org/drawingml/2006/main" xmlns:r="http://schemas.openxmlformats.org/officeDocument/2006/relationships" xmlns:p="http://schemas.openxmlformats.org/presentationml/2006/main">
  <p:tag name="EE4P_TEMPLATESTYLE" val="12"/>
</p:tagLst>
</file>

<file path=ppt/theme/theme1.xml><?xml version="1.0" encoding="utf-8"?>
<a:theme xmlns:a="http://schemas.openxmlformats.org/drawingml/2006/main" name="Design1">
  <a:themeElements>
    <a:clrScheme name="Benutzerdefiniert 19">
      <a:dk1>
        <a:srgbClr val="191919"/>
      </a:dk1>
      <a:lt1>
        <a:srgbClr val="FFFFFF"/>
      </a:lt1>
      <a:dk2>
        <a:srgbClr val="8C195F"/>
      </a:dk2>
      <a:lt2>
        <a:srgbClr val="C6C6C6"/>
      </a:lt2>
      <a:accent1>
        <a:srgbClr val="6B3881"/>
      </a:accent1>
      <a:accent2>
        <a:srgbClr val="D0A9D0"/>
      </a:accent2>
      <a:accent3>
        <a:srgbClr val="007E6B"/>
      </a:accent3>
      <a:accent4>
        <a:srgbClr val="A7D5C2"/>
      </a:accent4>
      <a:accent5>
        <a:srgbClr val="C32E15"/>
      </a:accent5>
      <a:accent6>
        <a:srgbClr val="F39A8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effectLst/>
      </a:spPr>
      <a:bodyPr rtlCol="0" anchor="t"/>
      <a:lstStyle>
        <a:defPPr algn="l">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08000" tIns="36000" rIns="108000" bIns="108000" rtlCol="0">
        <a:normAutofit/>
      </a:bodyPr>
      <a:lstStyle>
        <a:defPPr marL="252000" indent="-252000" algn="l">
          <a:spcAft>
            <a:spcPts val="600"/>
          </a:spcAft>
          <a:buClr>
            <a:schemeClr val="tx2"/>
          </a:buClr>
          <a:buFont typeface="Arial" panose="020B0604020202020204" pitchFamily="34" charset="0"/>
          <a:buChar char="•"/>
          <a:defRPr sz="2000" dirty="0" err="1"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Design1" id="{8962C7E2-3848-48F8-8CC2-E07FC9A48A74}" vid="{90E79971-BAD1-4717-A8A3-3BD5CE99CB75}"/>
    </a:ext>
  </a:ext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1F4FBF0A431384B81F2F7DD92FF695A" ma:contentTypeVersion="12" ma:contentTypeDescription="Ein neues Dokument erstellen." ma:contentTypeScope="" ma:versionID="e8e49469d60b29ba5be2486d061b9029">
  <xsd:schema xmlns:xsd="http://www.w3.org/2001/XMLSchema" xmlns:xs="http://www.w3.org/2001/XMLSchema" xmlns:p="http://schemas.microsoft.com/office/2006/metadata/properties" xmlns:ns2="3af7d5e3-e6f4-4e0d-8002-ac52c1ae60c2" xmlns:ns3="6c6604e2-fda1-4811-85dd-1d7485a98f9b" targetNamespace="http://schemas.microsoft.com/office/2006/metadata/properties" ma:root="true" ma:fieldsID="1d3094bc6200898f0ce7106882f1e6a3" ns2:_="" ns3:_="">
    <xsd:import namespace="3af7d5e3-e6f4-4e0d-8002-ac52c1ae60c2"/>
    <xsd:import namespace="6c6604e2-fda1-4811-85dd-1d7485a98f9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f7d5e3-e6f4-4e0d-8002-ac52c1ae60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c6604e2-fda1-4811-85dd-1d7485a98f9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9371620-cf0b-4d3b-8c20-5994487f6e0c}" ma:internalName="TaxCatchAll" ma:showField="CatchAllData" ma:web="6c6604e2-fda1-4811-85dd-1d7485a98f9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328E20-34E8-40F5-91E7-D4EEA61F6A3A}"/>
</file>

<file path=customXml/itemProps2.xml><?xml version="1.0" encoding="utf-8"?>
<ds:datastoreItem xmlns:ds="http://schemas.openxmlformats.org/officeDocument/2006/customXml" ds:itemID="{08DE6883-9BAE-4F15-9A3A-50F7C4E39762}"/>
</file>

<file path=docProps/app.xml><?xml version="1.0" encoding="utf-8"?>
<Properties xmlns="http://schemas.openxmlformats.org/officeDocument/2006/extended-properties" xmlns:vt="http://schemas.openxmlformats.org/officeDocument/2006/docPropsVTypes">
  <Template>Design1</Template>
  <TotalTime>0</TotalTime>
  <Words>5933</Words>
  <Application>Microsoft Office PowerPoint</Application>
  <PresentationFormat>Breitbild</PresentationFormat>
  <Paragraphs>751</Paragraphs>
  <Slides>58</Slides>
  <Notes>34</Notes>
  <HiddenSlides>1</HiddenSlides>
  <MMClips>5</MMClips>
  <ScaleCrop>false</ScaleCrop>
  <HeadingPairs>
    <vt:vector size="6" baseType="variant">
      <vt:variant>
        <vt:lpstr>Verwendete Schriftarten</vt:lpstr>
      </vt:variant>
      <vt:variant>
        <vt:i4>8</vt:i4>
      </vt:variant>
      <vt:variant>
        <vt:lpstr>Design</vt:lpstr>
      </vt:variant>
      <vt:variant>
        <vt:i4>2</vt:i4>
      </vt:variant>
      <vt:variant>
        <vt:lpstr>Folientitel</vt:lpstr>
      </vt:variant>
      <vt:variant>
        <vt:i4>58</vt:i4>
      </vt:variant>
    </vt:vector>
  </HeadingPairs>
  <TitlesOfParts>
    <vt:vector size="68" baseType="lpstr">
      <vt:lpstr>Arial</vt:lpstr>
      <vt:lpstr>Calibri</vt:lpstr>
      <vt:lpstr>Cambria Math</vt:lpstr>
      <vt:lpstr>Georgia</vt:lpstr>
      <vt:lpstr>Helvetica</vt:lpstr>
      <vt:lpstr>Symbol</vt:lpstr>
      <vt:lpstr>Times New Roman</vt:lpstr>
      <vt:lpstr>Wingdings</vt:lpstr>
      <vt:lpstr>Design1</vt:lpstr>
      <vt:lpstr>Benutzerdefiniertes Design</vt:lpstr>
      <vt:lpstr>LERNEINHEIT 4:</vt:lpstr>
      <vt:lpstr>Planung und Themen der Vorlesung</vt:lpstr>
      <vt:lpstr>Einleitung und Motivation</vt:lpstr>
      <vt:lpstr>Einleitung und Motivation</vt:lpstr>
      <vt:lpstr>Sicherheit von Produktionssystemen</vt:lpstr>
      <vt:lpstr>Überblick der verschiedenen ISO Standards </vt:lpstr>
      <vt:lpstr>DIN 12100: Vorgehensweise zur Auslegung von sicheren Maschinen und Anlagen</vt:lpstr>
      <vt:lpstr>Risiko</vt:lpstr>
      <vt:lpstr>Risikobeurteilung</vt:lpstr>
      <vt:lpstr>Prozess der Risikobeurteilung</vt:lpstr>
      <vt:lpstr>Funktionen der Maschine</vt:lpstr>
      <vt:lpstr>Vernünftigerweise vorhersehbare Fehlanwendung</vt:lpstr>
      <vt:lpstr>Identifizieren von Gefährdungen</vt:lpstr>
      <vt:lpstr>Risikoeinschätzung und Risikobewertung</vt:lpstr>
      <vt:lpstr>Risikograph zur Abschätzung einer Gefährdung nach ISO 13849 und bestimmen des erforderlichen Sicherheitsniveaus</vt:lpstr>
      <vt:lpstr>Performance Level  PL </vt:lpstr>
      <vt:lpstr>Sicherheits-Integritätslevel </vt:lpstr>
      <vt:lpstr>Performance Level und Sicherheits-Integritätslevel </vt:lpstr>
      <vt:lpstr>Performance Level und Sicherheits-Integritätslevel </vt:lpstr>
      <vt:lpstr>Prozess der 3-Stufen-Methode zur Risikominderung</vt:lpstr>
      <vt:lpstr>Sicheres Gestalten (inhärent sichere Konstruktion)</vt:lpstr>
      <vt:lpstr>Technische Schutzmaßnahmen</vt:lpstr>
      <vt:lpstr>Von der Festlegung bis zu Validierung der Sicherheitsfunktionen</vt:lpstr>
      <vt:lpstr>Einteilung der ergänzenden Schutzeinrichtungen</vt:lpstr>
      <vt:lpstr>Sicherheitseinrichtungen an einem Produktionssystem</vt:lpstr>
      <vt:lpstr>Sicherheit durch trennende Schutzeinrichtungen</vt:lpstr>
      <vt:lpstr>Sicherheit durch nicht-trennende Schutzeinrichtungen</vt:lpstr>
      <vt:lpstr>Anwendungsbeispiel einer nicht-trennenden Schutzeinrichtung</vt:lpstr>
      <vt:lpstr>Objekterkennung mit Laserscannern</vt:lpstr>
      <vt:lpstr>Anwendungsbeispiel eines Laserscanners</vt:lpstr>
      <vt:lpstr>Sicherheitsfeatures und Konzepte für kollaborative Roboter</vt:lpstr>
      <vt:lpstr>Kraft- / Momentensensoren ermöglichen Robotersystemen Sensitivitäts- und Sicherheitsfunktionen</vt:lpstr>
      <vt:lpstr>Interne Sensorik überwacht die aufgebrachten Motorströme in den Servomotoren des Roboters</vt:lpstr>
      <vt:lpstr>Sicherheit in der Mensch-Roboter-Kooperation dank zweikanalig ausgeführter Sensorik im Roboter</vt:lpstr>
      <vt:lpstr>Externe kapazitive Näherungssensoren am Roboter für eine  berührungsfreie Detektion</vt:lpstr>
      <vt:lpstr>Sicherheitsfeature der MRK-fähigen Robotersysteme durch das Roboter Design</vt:lpstr>
      <vt:lpstr>Begrenzung der Bewegungen &amp; Reduzierung von Geschwindigkeit und Kraft</vt:lpstr>
      <vt:lpstr>Präventive Sicherheitselemente an Robotersystemen für eine Mensch-Roboter-Kooperation</vt:lpstr>
      <vt:lpstr>Das kluge Robotersystem gibt nach</vt:lpstr>
      <vt:lpstr>Maßnahmen zur Absicherung eines MRK-Werkzeugs</vt:lpstr>
      <vt:lpstr>Kraft- und Positionsgesteuerte Greifer</vt:lpstr>
      <vt:lpstr>Weicher Robotergreifer</vt:lpstr>
      <vt:lpstr>Um eine Mensch-Roboter-Kooperation einsetzen zu können, ist eine Risikobeurteilung zwingend erforderlich</vt:lpstr>
      <vt:lpstr>TS ISO 15066: Sicherheitstechnische Anforderungen an die Mensch-Roboter-Kooperation</vt:lpstr>
      <vt:lpstr>TS ISO 15066: Sicherheitstechnische Anforderungen an die Mensch-Roboter-Kooperation </vt:lpstr>
      <vt:lpstr>TS ISO 15066: Sicherheitstechnische Anforderungen an die Mensch-Roboter-Kooperation </vt:lpstr>
      <vt:lpstr>TS ISO 15066: Sicherheitstechnische Anforderungen an die Mensch-Roboter-Kooperation</vt:lpstr>
      <vt:lpstr>Medizinische/ Biomechanische Anforderungen</vt:lpstr>
      <vt:lpstr>TS ISO 15066: Biomechanical limits</vt:lpstr>
      <vt:lpstr>TS ISO 15066: Biomechanical limits</vt:lpstr>
      <vt:lpstr>Messtechnik für Kraft- und Druckwerte bei kollaborierenden Robotern</vt:lpstr>
      <vt:lpstr>DGUV-Information: Planung von Anlagen mit der Funktion „Leistungs- und Kraftbegrenzung“ </vt:lpstr>
      <vt:lpstr>Industrial Security: Motivation</vt:lpstr>
      <vt:lpstr>Bedrohungen Industrial Control Systems </vt:lpstr>
      <vt:lpstr>Cyber Security Ziele – CIA im Kontext ICS</vt:lpstr>
      <vt:lpstr>Umsetzung von ganzheitlichen Cyber Security Maßnahmen in produzierenden Unternehmen am Beispiel der IEC 62443</vt:lpstr>
      <vt:lpstr>Übung Erstellung einer Risikoanalyse</vt:lpstr>
      <vt:lpstr>Kraft Druckmessung</vt:lpstr>
    </vt:vector>
  </TitlesOfParts>
  <Company>ZeMA – Zentrum für Mechatronik und Automatisierungstechnik g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tthias scholer</dc:creator>
  <cp:lastModifiedBy>Matthias Scholer</cp:lastModifiedBy>
  <cp:revision>140</cp:revision>
  <cp:lastPrinted>2012-09-28T14:12:23Z</cp:lastPrinted>
  <dcterms:created xsi:type="dcterms:W3CDTF">2020-01-24T09:39:19Z</dcterms:created>
  <dcterms:modified xsi:type="dcterms:W3CDTF">2024-04-15T15:35:22Z</dcterms:modified>
</cp:coreProperties>
</file>